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11"/>
  </p:notesMasterIdLst>
  <p:sldIdLst>
    <p:sldId id="10728" r:id="rId2"/>
    <p:sldId id="10708" r:id="rId3"/>
    <p:sldId id="10729" r:id="rId4"/>
    <p:sldId id="10711" r:id="rId5"/>
    <p:sldId id="10720" r:id="rId6"/>
    <p:sldId id="10718" r:id="rId7"/>
    <p:sldId id="10731" r:id="rId8"/>
    <p:sldId id="10730" r:id="rId9"/>
    <p:sldId id="10710" r:id="rId10"/>
  </p:sldIdLst>
  <p:sldSz cx="12192000" cy="6858000"/>
  <p:notesSz cx="7019925" cy="930592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lerie Hawley" initials="VH" lastIdx="1" clrIdx="0">
    <p:extLst>
      <p:ext uri="{19B8F6BF-5375-455C-9EA6-DF929625EA0E}">
        <p15:presenceInfo xmlns:p15="http://schemas.microsoft.com/office/powerpoint/2012/main" userId="S::Valerie.Hawley@damanhealth.ae::6d44db47-f2f7-4089-b249-84a8701740d7" providerId="AD"/>
      </p:ext>
    </p:extLst>
  </p:cmAuthor>
  <p:cmAuthor id="2" name="Hatem Abueida" initials="HA" lastIdx="1" clrIdx="1">
    <p:extLst>
      <p:ext uri="{19B8F6BF-5375-455C-9EA6-DF929625EA0E}">
        <p15:presenceInfo xmlns:p15="http://schemas.microsoft.com/office/powerpoint/2012/main" userId="S-1-5-21-1194444211-963107961-2243363944-41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4C88"/>
    <a:srgbClr val="060606"/>
    <a:srgbClr val="003478"/>
    <a:srgbClr val="00746C"/>
    <a:srgbClr val="FFFFCC"/>
    <a:srgbClr val="99FF99"/>
    <a:srgbClr val="4F73A2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539" autoAdjust="0"/>
    <p:restoredTop sz="88708" autoAdjust="0"/>
  </p:normalViewPr>
  <p:slideViewPr>
    <p:cSldViewPr snapToGrid="0">
      <p:cViewPr varScale="1">
        <p:scale>
          <a:sx n="80" d="100"/>
          <a:sy n="80" d="100"/>
        </p:scale>
        <p:origin x="471" y="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3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46-446C-A130-AF9459B6DB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46-446C-A130-AF9459B6DB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846-446C-A130-AF9459B6DB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846-446C-A130-AF9459B6DB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846-446C-A130-AF9459B6DB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846-446C-A130-AF9459B6DB7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846-446C-A130-AF9459B6DB78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846-446C-A130-AF9459B6DB78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D846-446C-A130-AF9459B6DB78}"/>
              </c:ext>
            </c:extLst>
          </c:dPt>
          <c:dLbls>
            <c:dLbl>
              <c:idx val="0"/>
              <c:layout>
                <c:manualLayout>
                  <c:x val="0.2286891794457315"/>
                  <c:y val="-0.1011210698703106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46-446C-A130-AF9459B6DB78}"/>
                </c:ext>
              </c:extLst>
            </c:dLbl>
            <c:dLbl>
              <c:idx val="1"/>
              <c:layout>
                <c:manualLayout>
                  <c:x val="0.19601929666776996"/>
                  <c:y val="5.185695890785151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46-446C-A130-AF9459B6DB78}"/>
                </c:ext>
              </c:extLst>
            </c:dLbl>
            <c:dLbl>
              <c:idx val="2"/>
              <c:layout>
                <c:manualLayout>
                  <c:x val="-7.1562600370773222E-2"/>
                  <c:y val="0.1581637246689474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46-446C-A130-AF9459B6DB78}"/>
                </c:ext>
              </c:extLst>
            </c:dLbl>
            <c:dLbl>
              <c:idx val="3"/>
              <c:layout>
                <c:manualLayout>
                  <c:x val="-0.18512933574178272"/>
                  <c:y val="0.1944635959044434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46-446C-A130-AF9459B6DB78}"/>
                </c:ext>
              </c:extLst>
            </c:dLbl>
            <c:dLbl>
              <c:idx val="4"/>
              <c:layout>
                <c:manualLayout>
                  <c:x val="-0.16957224870465815"/>
                  <c:y val="9.593537397952539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846-446C-A130-AF9459B6DB78}"/>
                </c:ext>
              </c:extLst>
            </c:dLbl>
            <c:dLbl>
              <c:idx val="5"/>
              <c:layout>
                <c:manualLayout>
                  <c:x val="-0.25358051870513099"/>
                  <c:y val="1.296423972696285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846-446C-A130-AF9459B6DB78}"/>
                </c:ext>
              </c:extLst>
            </c:dLbl>
            <c:dLbl>
              <c:idx val="6"/>
              <c:layout>
                <c:manualLayout>
                  <c:x val="-0.1750387164290724"/>
                  <c:y val="-4.958763403909860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846-446C-A130-AF9459B6DB78}"/>
                </c:ext>
              </c:extLst>
            </c:dLbl>
            <c:dLbl>
              <c:idx val="7"/>
              <c:layout>
                <c:manualLayout>
                  <c:x val="-0.34068952206144254"/>
                  <c:y val="-0.11766184378301414"/>
                </c:manualLayout>
              </c:layout>
              <c:tx>
                <c:rich>
                  <a:bodyPr/>
                  <a:lstStyle/>
                  <a:p>
                    <a:fld id="{080285DA-D151-481F-9F0F-960168991C85}" type="CATEGORYNAME">
                      <a:rPr lang="en-US" smtClean="0"/>
                      <a:pPr/>
                      <a:t>[CATEGORY NAME]</a:t>
                    </a:fld>
                    <a:endParaRPr lang="en-US" dirty="0"/>
                  </a:p>
                  <a:p>
                    <a:fld id="{A7B4D74F-3EC3-430F-9657-D02D6210AA9C}" type="PERCENTAGE">
                      <a:rPr lang="en-US" baseline="0" smtClean="0"/>
                      <a:pPr/>
                      <a:t>[PERCENTAGE]</a:t>
                    </a:fld>
                    <a:endParaRPr lang="en-US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70394707307559"/>
                      <c:h val="0.1745113570890296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D846-446C-A130-AF9459B6DB78}"/>
                </c:ext>
              </c:extLst>
            </c:dLbl>
            <c:dLbl>
              <c:idx val="8"/>
              <c:layout>
                <c:manualLayout>
                  <c:x val="1.4001378333412197E-2"/>
                  <c:y val="-0.173720812341302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D846-446C-A130-AF9459B6DB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:$A$9</c:f>
              <c:strCache>
                <c:ptCount val="9"/>
                <c:pt idx="0">
                  <c:v>Lack of Documentation </c:v>
                </c:pt>
                <c:pt idx="1">
                  <c:v>Billing of services not rendered</c:v>
                </c:pt>
                <c:pt idx="2">
                  <c:v>Upcoding </c:v>
                </c:pt>
                <c:pt idx="3">
                  <c:v>Unjustified services </c:v>
                </c:pt>
                <c:pt idx="4">
                  <c:v>Duplicate claims</c:v>
                </c:pt>
                <c:pt idx="5">
                  <c:v>Unbundled Services</c:v>
                </c:pt>
                <c:pt idx="6">
                  <c:v>Miscoding</c:v>
                </c:pt>
                <c:pt idx="7">
                  <c:v>Inconsistency with medical records </c:v>
                </c:pt>
                <c:pt idx="8">
                  <c:v>Billing of non-covered services</c:v>
                </c:pt>
              </c:strCache>
            </c:strRef>
          </c:cat>
          <c:val>
            <c:numRef>
              <c:f>Sheet1!$B$1:$B$9</c:f>
              <c:numCache>
                <c:formatCode>0%</c:formatCode>
                <c:ptCount val="9"/>
                <c:pt idx="0">
                  <c:v>0.26</c:v>
                </c:pt>
                <c:pt idx="1">
                  <c:v>0.21</c:v>
                </c:pt>
                <c:pt idx="2">
                  <c:v>0.14000000000000001</c:v>
                </c:pt>
                <c:pt idx="3">
                  <c:v>0.13</c:v>
                </c:pt>
                <c:pt idx="4">
                  <c:v>0.08</c:v>
                </c:pt>
                <c:pt idx="5">
                  <c:v>7.0000000000000007E-2</c:v>
                </c:pt>
                <c:pt idx="6">
                  <c:v>0.05</c:v>
                </c:pt>
                <c:pt idx="7">
                  <c:v>0.04</c:v>
                </c:pt>
                <c:pt idx="8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846-446C-A130-AF9459B6DB7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571024335031127E-3"/>
          <c:y val="1.9593067068575734E-2"/>
          <c:w val="0.98528579513299386"/>
          <c:h val="0.96081386586284856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rgbClr val="364D6E"/>
              </a:solidFill>
              <a:prstDash val="solid"/>
            </a:ln>
          </c:spPr>
          <c:marker>
            <c:symbol val="none"/>
          </c:marker>
          <c:val>
            <c:numRef>
              <c:f>Sheet1!$A$1:$AC$1</c:f>
              <c:numCache>
                <c:formatCode>General</c:formatCode>
                <c:ptCount val="29"/>
                <c:pt idx="0">
                  <c:v>89.799096321678505</c:v>
                </c:pt>
                <c:pt idx="1">
                  <c:v>112.42972068601499</c:v>
                </c:pt>
                <c:pt idx="2">
                  <c:v>124.63368523750755</c:v>
                </c:pt>
                <c:pt idx="3">
                  <c:v>138.59708118965341</c:v>
                </c:pt>
                <c:pt idx="4">
                  <c:v>142.51064687654832</c:v>
                </c:pt>
                <c:pt idx="5">
                  <c:v>124.50826083686682</c:v>
                </c:pt>
                <c:pt idx="6">
                  <c:v>94.456787395175567</c:v>
                </c:pt>
                <c:pt idx="7">
                  <c:v>137.16473708534056</c:v>
                </c:pt>
                <c:pt idx="8">
                  <c:v>135.37059283358536</c:v>
                </c:pt>
                <c:pt idx="9">
                  <c:v>156.63688580938265</c:v>
                </c:pt>
                <c:pt idx="10">
                  <c:v>170.92709252950624</c:v>
                </c:pt>
                <c:pt idx="11">
                  <c:v>169.96227933751607</c:v>
                </c:pt>
                <c:pt idx="12">
                  <c:v>191.9638526405148</c:v>
                </c:pt>
                <c:pt idx="13">
                  <c:v>207.28907143076401</c:v>
                </c:pt>
                <c:pt idx="14">
                  <c:v>199.2090128925762</c:v>
                </c:pt>
                <c:pt idx="15">
                  <c:v>184.10347619895691</c:v>
                </c:pt>
                <c:pt idx="16">
                  <c:v>150.21684720380716</c:v>
                </c:pt>
                <c:pt idx="17">
                  <c:v>106.03329775728649</c:v>
                </c:pt>
                <c:pt idx="18">
                  <c:v>127.17757527140257</c:v>
                </c:pt>
                <c:pt idx="19">
                  <c:v>138.02388363387695</c:v>
                </c:pt>
                <c:pt idx="20">
                  <c:v>102.38328984747527</c:v>
                </c:pt>
                <c:pt idx="21">
                  <c:v>122.56170292905647</c:v>
                </c:pt>
                <c:pt idx="22">
                  <c:v>118.18650950775061</c:v>
                </c:pt>
                <c:pt idx="23">
                  <c:v>111.89870224543957</c:v>
                </c:pt>
                <c:pt idx="24">
                  <c:v>116.05527862398905</c:v>
                </c:pt>
                <c:pt idx="25">
                  <c:v>103.14192739614417</c:v>
                </c:pt>
                <c:pt idx="26">
                  <c:v>63.375506140296991</c:v>
                </c:pt>
                <c:pt idx="27">
                  <c:v>55.177572869350143</c:v>
                </c:pt>
                <c:pt idx="28">
                  <c:v>54.4871249254725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4A9-4D1A-A16C-8581C17E03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60039551"/>
        <c:axId val="1"/>
      </c:lineChart>
      <c:catAx>
        <c:axId val="8600395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0.2179842943003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60039551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1967" cy="466913"/>
          </a:xfrm>
          <a:prstGeom prst="rect">
            <a:avLst/>
          </a:prstGeom>
        </p:spPr>
        <p:txBody>
          <a:bodyPr vert="horz" lIns="93287" tIns="46643" rIns="93287" bIns="46643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4" y="0"/>
            <a:ext cx="3041967" cy="466913"/>
          </a:xfrm>
          <a:prstGeom prst="rect">
            <a:avLst/>
          </a:prstGeom>
        </p:spPr>
        <p:txBody>
          <a:bodyPr vert="horz" lIns="93287" tIns="46643" rIns="93287" bIns="46643" rtlCol="0"/>
          <a:lstStyle>
            <a:lvl1pPr algn="r">
              <a:defRPr sz="1200"/>
            </a:lvl1pPr>
          </a:lstStyle>
          <a:p>
            <a:fld id="{84933062-98A9-477A-9C83-E803BB2AFC8D}" type="datetimeFigureOut">
              <a:rPr lang="en-GB" smtClean="0"/>
              <a:t>18/02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3" rIns="93287" bIns="46643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78476"/>
            <a:ext cx="5615940" cy="3664208"/>
          </a:xfrm>
          <a:prstGeom prst="rect">
            <a:avLst/>
          </a:prstGeom>
        </p:spPr>
        <p:txBody>
          <a:bodyPr vert="horz" lIns="93287" tIns="46643" rIns="93287" bIns="4664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39015"/>
            <a:ext cx="3041967" cy="466912"/>
          </a:xfrm>
          <a:prstGeom prst="rect">
            <a:avLst/>
          </a:prstGeom>
        </p:spPr>
        <p:txBody>
          <a:bodyPr vert="horz" lIns="93287" tIns="46643" rIns="93287" bIns="46643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4" y="8839015"/>
            <a:ext cx="3041967" cy="466912"/>
          </a:xfrm>
          <a:prstGeom prst="rect">
            <a:avLst/>
          </a:prstGeom>
        </p:spPr>
        <p:txBody>
          <a:bodyPr vert="horz" lIns="93287" tIns="46643" rIns="93287" bIns="46643" rtlCol="0" anchor="b"/>
          <a:lstStyle>
            <a:lvl1pPr algn="r">
              <a:defRPr sz="1200"/>
            </a:lvl1pPr>
          </a:lstStyle>
          <a:p>
            <a:fld id="{928436D0-0510-45D8-BF5F-9A564C6BEB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0823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034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8436D0-0510-45D8-BF5F-9A564C6BEBC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5987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034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8436D0-0510-45D8-BF5F-9A564C6BEBC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6148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381" indent="-171381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lumMod val="50000"/>
                </a:schemeClr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8436D0-0510-45D8-BF5F-9A564C6BEBC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4438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8436D0-0510-45D8-BF5F-9A564C6BEBC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07417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8436D0-0510-45D8-BF5F-9A564C6BEBC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5534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8436D0-0510-45D8-BF5F-9A564C6BEBC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34423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8436D0-0510-45D8-BF5F-9A564C6BEBC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7853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8436D0-0510-45D8-BF5F-9A564C6BEBC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5495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8436D0-0510-45D8-BF5F-9A564C6BEBC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568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damanhealth.ae/en" TargetMode="Externa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manhealth.ae/opencms/opencms/Daman/en/home/index.html" TargetMode="External"/><Relationship Id="rId2" Type="http://schemas.openxmlformats.org/officeDocument/2006/relationships/hyperlink" Target="https://www.damanhealth.ae/en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manhealth.ae/opencms/opencms/Daman/en/home/index.html" TargetMode="External"/><Relationship Id="rId2" Type="http://schemas.openxmlformats.org/officeDocument/2006/relationships/hyperlink" Target="https://www.damanhealth.ae/en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manhealth.ae/opencms/opencms/Daman/en/home/index.html" TargetMode="External"/><Relationship Id="rId2" Type="http://schemas.openxmlformats.org/officeDocument/2006/relationships/hyperlink" Target="https://www.damanhealth.ae/en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manhealth.ae/opencms/opencms/Daman/en/home/index.html" TargetMode="External"/><Relationship Id="rId2" Type="http://schemas.openxmlformats.org/officeDocument/2006/relationships/hyperlink" Target="https://www.damanhealth.ae/en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manhealth.ae/opencms/opencms/Daman/en/home/index.html" TargetMode="External"/><Relationship Id="rId2" Type="http://schemas.openxmlformats.org/officeDocument/2006/relationships/hyperlink" Target="https://www.damanhealth.ae/en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10397103" y="228937"/>
            <a:ext cx="1794897" cy="1110006"/>
            <a:chOff x="10397103" y="228937"/>
            <a:chExt cx="1794897" cy="1110006"/>
          </a:xfrm>
        </p:grpSpPr>
        <p:sp>
          <p:nvSpPr>
            <p:cNvPr id="8" name="Rectangle 7"/>
            <p:cNvSpPr/>
            <p:nvPr userDrawn="1"/>
          </p:nvSpPr>
          <p:spPr>
            <a:xfrm>
              <a:off x="12001269" y="360589"/>
              <a:ext cx="190731" cy="946928"/>
            </a:xfrm>
            <a:prstGeom prst="rect">
              <a:avLst/>
            </a:prstGeom>
            <a:solidFill>
              <a:srgbClr val="883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pic>
          <p:nvPicPr>
            <p:cNvPr id="9" name="Picture 8">
              <a:hlinkClick r:id="rId2"/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97103" y="228937"/>
              <a:ext cx="1304104" cy="1110006"/>
            </a:xfrm>
            <a:prstGeom prst="rect">
              <a:avLst/>
            </a:prstGeom>
          </p:spPr>
        </p:pic>
      </p:grpSp>
      <p:sp>
        <p:nvSpPr>
          <p:cNvPr id="10" name="Rectangle 9"/>
          <p:cNvSpPr/>
          <p:nvPr userDrawn="1"/>
        </p:nvSpPr>
        <p:spPr>
          <a:xfrm>
            <a:off x="0" y="6543789"/>
            <a:ext cx="113574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Rectangle 10">
            <a:hlinkClick r:id="rId4"/>
          </p:cNvPr>
          <p:cNvSpPr/>
          <p:nvPr userDrawn="1"/>
        </p:nvSpPr>
        <p:spPr>
          <a:xfrm>
            <a:off x="269423" y="6493795"/>
            <a:ext cx="9637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kern="1200" dirty="0">
                <a:solidFill>
                  <a:srgbClr val="882D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manhealth.ae</a:t>
            </a:r>
          </a:p>
        </p:txBody>
      </p:sp>
    </p:spTree>
    <p:extLst>
      <p:ext uri="{BB962C8B-B14F-4D97-AF65-F5344CB8AC3E}">
        <p14:creationId xmlns:p14="http://schemas.microsoft.com/office/powerpoint/2010/main" val="10959867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1"/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158980"/>
            <a:ext cx="10424160" cy="365760"/>
          </a:xfrm>
        </p:spPr>
        <p:txBody>
          <a:bodyPr>
            <a:noAutofit/>
          </a:bodyPr>
          <a:lstStyle>
            <a:lvl1pPr marL="0" indent="0">
              <a:buNone/>
              <a:defRPr sz="2000" b="1" baseline="0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tx2"/>
                </a:solidFill>
              </a:defRPr>
            </a:lvl2pPr>
            <a:lvl3pPr>
              <a:defRPr sz="2000" b="1">
                <a:solidFill>
                  <a:schemeClr val="tx2"/>
                </a:solidFill>
              </a:defRPr>
            </a:lvl3pPr>
            <a:lvl4pPr>
              <a:defRPr sz="2000" b="1">
                <a:solidFill>
                  <a:schemeClr val="tx2"/>
                </a:solidFill>
              </a:defRPr>
            </a:lvl4pPr>
            <a:lvl5pPr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itle font type VERDANA size 20 bold</a:t>
            </a:r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77300" y="6493517"/>
            <a:ext cx="1905095" cy="2157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r>
              <a:rPr lang="en-GB" dirty="0"/>
              <a:t>Document type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2"/>
          </p:nvPr>
        </p:nvSpPr>
        <p:spPr>
          <a:xfrm>
            <a:off x="10824564" y="6493516"/>
            <a:ext cx="807812" cy="2120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43789"/>
            <a:ext cx="113574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Rectangle 6">
            <a:hlinkClick r:id="rId2"/>
          </p:cNvPr>
          <p:cNvSpPr/>
          <p:nvPr userDrawn="1"/>
        </p:nvSpPr>
        <p:spPr>
          <a:xfrm>
            <a:off x="269423" y="6493795"/>
            <a:ext cx="9637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kern="1200" dirty="0">
                <a:solidFill>
                  <a:srgbClr val="882D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manhealth.a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167919" y="196422"/>
            <a:ext cx="1035370" cy="653912"/>
            <a:chOff x="11156630" y="196422"/>
            <a:chExt cx="1035370" cy="653912"/>
          </a:xfrm>
        </p:grpSpPr>
        <p:sp>
          <p:nvSpPr>
            <p:cNvPr id="9" name="Rectangle 8"/>
            <p:cNvSpPr/>
            <p:nvPr/>
          </p:nvSpPr>
          <p:spPr>
            <a:xfrm>
              <a:off x="12078426" y="244880"/>
              <a:ext cx="113574" cy="563862"/>
            </a:xfrm>
            <a:prstGeom prst="rect">
              <a:avLst/>
            </a:prstGeom>
            <a:solidFill>
              <a:srgbClr val="883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pic>
          <p:nvPicPr>
            <p:cNvPr id="10" name="Picture 9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56630" y="196422"/>
              <a:ext cx="768258" cy="653912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 flipH="1">
            <a:off x="116323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 flipH="1">
            <a:off x="108062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650664" y="6493516"/>
            <a:ext cx="316993" cy="2120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00347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8C0C717-B20B-46A6-8999-D29297103154}" type="slidenum">
              <a:rPr lang="en-GB" sz="800" smtClean="0">
                <a:solidFill>
                  <a:srgbClr val="882D45"/>
                </a:solidFill>
              </a:rPr>
              <a:pPr algn="r"/>
              <a:t>‹#›</a:t>
            </a:fld>
            <a:endParaRPr lang="en-GB" dirty="0">
              <a:solidFill>
                <a:srgbClr val="882D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751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7"/>
          <p:cNvSpPr>
            <a:spLocks noGrp="1"/>
          </p:cNvSpPr>
          <p:nvPr>
            <p:ph type="body" sz="quarter" idx="12" hasCustomPrompt="1"/>
          </p:nvPr>
        </p:nvSpPr>
        <p:spPr>
          <a:xfrm>
            <a:off x="269874" y="559708"/>
            <a:ext cx="10424160" cy="27432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font type VERDANA size 16</a:t>
            </a:r>
            <a:endParaRPr lang="en-GB" dirty="0"/>
          </a:p>
        </p:txBody>
      </p:sp>
      <p:sp>
        <p:nvSpPr>
          <p:cNvPr id="3" name="Text Placeholder 41"/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158980"/>
            <a:ext cx="10424160" cy="365760"/>
          </a:xfrm>
        </p:spPr>
        <p:txBody>
          <a:bodyPr>
            <a:noAutofit/>
          </a:bodyPr>
          <a:lstStyle>
            <a:lvl1pPr marL="0" indent="0">
              <a:buNone/>
              <a:defRPr sz="2000" b="1" baseline="0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tx2"/>
                </a:solidFill>
              </a:defRPr>
            </a:lvl2pPr>
            <a:lvl3pPr>
              <a:defRPr sz="2000" b="1">
                <a:solidFill>
                  <a:schemeClr val="tx2"/>
                </a:solidFill>
              </a:defRPr>
            </a:lvl3pPr>
            <a:lvl4pPr>
              <a:defRPr sz="2000" b="1">
                <a:solidFill>
                  <a:schemeClr val="tx2"/>
                </a:solidFill>
              </a:defRPr>
            </a:lvl4pPr>
            <a:lvl5pPr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itle font type VERDANA size 20 bold</a:t>
            </a:r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77300" y="6493517"/>
            <a:ext cx="1905095" cy="2157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r>
              <a:rPr lang="en-GB" dirty="0"/>
              <a:t>Document type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2"/>
          </p:nvPr>
        </p:nvSpPr>
        <p:spPr>
          <a:xfrm>
            <a:off x="10824564" y="6493516"/>
            <a:ext cx="807812" cy="2120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43789"/>
            <a:ext cx="113574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Rectangle 6">
            <a:hlinkClick r:id="rId2"/>
          </p:cNvPr>
          <p:cNvSpPr/>
          <p:nvPr userDrawn="1"/>
        </p:nvSpPr>
        <p:spPr>
          <a:xfrm>
            <a:off x="269423" y="6493795"/>
            <a:ext cx="9637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kern="1200" dirty="0">
                <a:solidFill>
                  <a:srgbClr val="882D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manhealth.a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167919" y="196422"/>
            <a:ext cx="1035370" cy="653912"/>
            <a:chOff x="11156630" y="196422"/>
            <a:chExt cx="1035370" cy="653912"/>
          </a:xfrm>
        </p:grpSpPr>
        <p:sp>
          <p:nvSpPr>
            <p:cNvPr id="9" name="Rectangle 8"/>
            <p:cNvSpPr/>
            <p:nvPr/>
          </p:nvSpPr>
          <p:spPr>
            <a:xfrm>
              <a:off x="12078426" y="244880"/>
              <a:ext cx="113574" cy="563862"/>
            </a:xfrm>
            <a:prstGeom prst="rect">
              <a:avLst/>
            </a:prstGeom>
            <a:solidFill>
              <a:srgbClr val="883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pic>
          <p:nvPicPr>
            <p:cNvPr id="10" name="Picture 9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56630" y="196422"/>
              <a:ext cx="768258" cy="653912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 flipH="1">
            <a:off x="116323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 flipH="1">
            <a:off x="108062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650664" y="6493516"/>
            <a:ext cx="316993" cy="2120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00347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8C0C717-B20B-46A6-8999-D29297103154}" type="slidenum">
              <a:rPr lang="en-GB" sz="800" smtClean="0">
                <a:solidFill>
                  <a:srgbClr val="882D45"/>
                </a:solidFill>
              </a:rPr>
              <a:pPr algn="r"/>
              <a:t>‹#›</a:t>
            </a:fld>
            <a:endParaRPr lang="en-GB" dirty="0">
              <a:solidFill>
                <a:srgbClr val="882D45"/>
              </a:solidFill>
            </a:endParaRP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69651" y="1202267"/>
            <a:ext cx="11612880" cy="5030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text font type VEDANA size 10-16</a:t>
            </a:r>
          </a:p>
        </p:txBody>
      </p:sp>
    </p:spTree>
    <p:extLst>
      <p:ext uri="{BB962C8B-B14F-4D97-AF65-F5344CB8AC3E}">
        <p14:creationId xmlns:p14="http://schemas.microsoft.com/office/powerpoint/2010/main" val="1345273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7"/>
          <p:cNvSpPr>
            <a:spLocks noGrp="1"/>
          </p:cNvSpPr>
          <p:nvPr>
            <p:ph type="body" sz="quarter" idx="12" hasCustomPrompt="1"/>
          </p:nvPr>
        </p:nvSpPr>
        <p:spPr>
          <a:xfrm>
            <a:off x="269874" y="559708"/>
            <a:ext cx="10424160" cy="27432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title font type VERDANA size 16</a:t>
            </a:r>
            <a:endParaRPr lang="en-GB" dirty="0"/>
          </a:p>
        </p:txBody>
      </p:sp>
      <p:sp>
        <p:nvSpPr>
          <p:cNvPr id="3" name="Text Placeholder 41"/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158980"/>
            <a:ext cx="10424160" cy="365760"/>
          </a:xfrm>
        </p:spPr>
        <p:txBody>
          <a:bodyPr>
            <a:noAutofit/>
          </a:bodyPr>
          <a:lstStyle>
            <a:lvl1pPr marL="0" indent="0">
              <a:buNone/>
              <a:defRPr sz="2000" b="1" baseline="0">
                <a:solidFill>
                  <a:schemeClr val="tx2"/>
                </a:solidFill>
              </a:defRPr>
            </a:lvl1pPr>
            <a:lvl2pPr>
              <a:defRPr sz="2000" b="1">
                <a:solidFill>
                  <a:schemeClr val="tx2"/>
                </a:solidFill>
              </a:defRPr>
            </a:lvl2pPr>
            <a:lvl3pPr>
              <a:defRPr sz="2000" b="1">
                <a:solidFill>
                  <a:schemeClr val="tx2"/>
                </a:solidFill>
              </a:defRPr>
            </a:lvl3pPr>
            <a:lvl4pPr>
              <a:defRPr sz="2000" b="1">
                <a:solidFill>
                  <a:schemeClr val="tx2"/>
                </a:solidFill>
              </a:defRPr>
            </a:lvl4pPr>
            <a:lvl5pPr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itle font type VERDANA size 20 bold</a:t>
            </a:r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77300" y="6493517"/>
            <a:ext cx="1905095" cy="2157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r>
              <a:rPr lang="en-GB" dirty="0"/>
              <a:t>Document type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2"/>
          </p:nvPr>
        </p:nvSpPr>
        <p:spPr>
          <a:xfrm>
            <a:off x="10824564" y="6493516"/>
            <a:ext cx="807812" cy="2120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43789"/>
            <a:ext cx="113574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Rectangle 6">
            <a:hlinkClick r:id="rId2"/>
          </p:cNvPr>
          <p:cNvSpPr/>
          <p:nvPr userDrawn="1"/>
        </p:nvSpPr>
        <p:spPr>
          <a:xfrm>
            <a:off x="269423" y="6493795"/>
            <a:ext cx="9637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kern="1200" dirty="0">
                <a:solidFill>
                  <a:srgbClr val="882D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manhealth.a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167919" y="196422"/>
            <a:ext cx="1035370" cy="653912"/>
            <a:chOff x="11156630" y="196422"/>
            <a:chExt cx="1035370" cy="653912"/>
          </a:xfrm>
        </p:grpSpPr>
        <p:sp>
          <p:nvSpPr>
            <p:cNvPr id="9" name="Rectangle 8"/>
            <p:cNvSpPr/>
            <p:nvPr/>
          </p:nvSpPr>
          <p:spPr>
            <a:xfrm>
              <a:off x="12078426" y="244880"/>
              <a:ext cx="113574" cy="563862"/>
            </a:xfrm>
            <a:prstGeom prst="rect">
              <a:avLst/>
            </a:prstGeom>
            <a:solidFill>
              <a:srgbClr val="883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pic>
          <p:nvPicPr>
            <p:cNvPr id="10" name="Picture 9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56630" y="196422"/>
              <a:ext cx="768258" cy="653912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 flipH="1">
            <a:off x="116323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 flipH="1">
            <a:off x="108062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650664" y="6493516"/>
            <a:ext cx="316993" cy="2120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00347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8C0C717-B20B-46A6-8999-D29297103154}" type="slidenum">
              <a:rPr lang="en-GB" sz="800" smtClean="0">
                <a:solidFill>
                  <a:srgbClr val="882D45"/>
                </a:solidFill>
              </a:rPr>
              <a:pPr algn="r"/>
              <a:t>‹#›</a:t>
            </a:fld>
            <a:endParaRPr lang="en-GB" dirty="0">
              <a:solidFill>
                <a:srgbClr val="882D45"/>
              </a:solidFill>
            </a:endParaRP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342467" y="1202267"/>
            <a:ext cx="6540064" cy="50308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text font type VEDANA size 10-16</a:t>
            </a:r>
          </a:p>
        </p:txBody>
      </p:sp>
      <p:sp>
        <p:nvSpPr>
          <p:cNvPr id="15" name="Content Placeholder 17"/>
          <p:cNvSpPr>
            <a:spLocks noGrp="1"/>
          </p:cNvSpPr>
          <p:nvPr>
            <p:ph sz="quarter" idx="17"/>
          </p:nvPr>
        </p:nvSpPr>
        <p:spPr>
          <a:xfrm>
            <a:off x="269422" y="1202267"/>
            <a:ext cx="4717445" cy="50308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  <a:lvl2pPr>
              <a:defRPr sz="1287"/>
            </a:lvl2pPr>
            <a:lvl3pPr>
              <a:defRPr sz="1104"/>
            </a:lvl3pPr>
            <a:lvl4pPr>
              <a:defRPr sz="1012"/>
            </a:lvl4pPr>
            <a:lvl5pPr>
              <a:defRPr sz="101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7741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77300" y="6493517"/>
            <a:ext cx="1905095" cy="2157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r>
              <a:rPr lang="en-GB" dirty="0"/>
              <a:t>Document type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2"/>
          </p:nvPr>
        </p:nvSpPr>
        <p:spPr>
          <a:xfrm>
            <a:off x="10824564" y="6493516"/>
            <a:ext cx="807812" cy="2120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43789"/>
            <a:ext cx="113574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Rectangle 6">
            <a:hlinkClick r:id="rId2"/>
          </p:cNvPr>
          <p:cNvSpPr/>
          <p:nvPr userDrawn="1"/>
        </p:nvSpPr>
        <p:spPr>
          <a:xfrm>
            <a:off x="269423" y="6493795"/>
            <a:ext cx="9637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kern="1200" dirty="0">
                <a:solidFill>
                  <a:srgbClr val="882D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manhealth.a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167919" y="196422"/>
            <a:ext cx="1035370" cy="653912"/>
            <a:chOff x="11156630" y="196422"/>
            <a:chExt cx="1035370" cy="653912"/>
          </a:xfrm>
        </p:grpSpPr>
        <p:sp>
          <p:nvSpPr>
            <p:cNvPr id="9" name="Rectangle 8"/>
            <p:cNvSpPr/>
            <p:nvPr/>
          </p:nvSpPr>
          <p:spPr>
            <a:xfrm>
              <a:off x="12078426" y="244880"/>
              <a:ext cx="113574" cy="563862"/>
            </a:xfrm>
            <a:prstGeom prst="rect">
              <a:avLst/>
            </a:prstGeom>
            <a:solidFill>
              <a:srgbClr val="883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pic>
          <p:nvPicPr>
            <p:cNvPr id="10" name="Picture 9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56630" y="196422"/>
              <a:ext cx="768258" cy="653912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 flipH="1">
            <a:off x="116323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 flipH="1">
            <a:off x="108062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650664" y="6493516"/>
            <a:ext cx="316993" cy="2120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00347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8C0C717-B20B-46A6-8999-D29297103154}" type="slidenum">
              <a:rPr lang="en-GB" sz="800" smtClean="0">
                <a:solidFill>
                  <a:srgbClr val="882D45"/>
                </a:solidFill>
              </a:rPr>
              <a:pPr algn="r"/>
              <a:t>‹#›</a:t>
            </a:fld>
            <a:endParaRPr lang="en-GB" dirty="0">
              <a:solidFill>
                <a:srgbClr val="882D45"/>
              </a:solidFill>
            </a:endParaRP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2518997" y="2592963"/>
            <a:ext cx="7173057" cy="1949576"/>
            <a:chOff x="1240713" y="2592963"/>
            <a:chExt cx="7173057" cy="1949576"/>
          </a:xfrm>
        </p:grpSpPr>
        <p:grpSp>
          <p:nvGrpSpPr>
            <p:cNvPr id="18" name="Group 17"/>
            <p:cNvGrpSpPr/>
            <p:nvPr/>
          </p:nvGrpSpPr>
          <p:grpSpPr>
            <a:xfrm rot="10800000">
              <a:off x="7756813" y="2592965"/>
              <a:ext cx="656957" cy="1949572"/>
              <a:chOff x="19021815" y="4800600"/>
              <a:chExt cx="1616703" cy="4797697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19021815" y="4800600"/>
                <a:ext cx="1616703" cy="1600200"/>
                <a:chOff x="3053268" y="4800600"/>
                <a:chExt cx="1616703" cy="1600200"/>
              </a:xfrm>
            </p:grpSpPr>
            <p:cxnSp>
              <p:nvCxnSpPr>
                <p:cNvPr id="29" name="Straight Connector 28"/>
                <p:cNvCxnSpPr/>
                <p:nvPr/>
              </p:nvCxnSpPr>
              <p:spPr>
                <a:xfrm flipV="1">
                  <a:off x="3053268" y="4800600"/>
                  <a:ext cx="1616703" cy="1254"/>
                </a:xfrm>
                <a:prstGeom prst="line">
                  <a:avLst/>
                </a:prstGeom>
                <a:ln>
                  <a:solidFill>
                    <a:srgbClr val="882D4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/>
                <p:cNvCxnSpPr/>
                <p:nvPr/>
              </p:nvCxnSpPr>
              <p:spPr>
                <a:xfrm flipV="1">
                  <a:off x="3053268" y="4800601"/>
                  <a:ext cx="0" cy="1600199"/>
                </a:xfrm>
                <a:prstGeom prst="line">
                  <a:avLst/>
                </a:prstGeom>
                <a:ln>
                  <a:solidFill>
                    <a:srgbClr val="882D4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Group 25"/>
              <p:cNvGrpSpPr/>
              <p:nvPr/>
            </p:nvGrpSpPr>
            <p:grpSpPr>
              <a:xfrm rot="16200000">
                <a:off x="19021814" y="7989845"/>
                <a:ext cx="1616703" cy="1600201"/>
                <a:chOff x="3053272" y="4800598"/>
                <a:chExt cx="1616703" cy="1600201"/>
              </a:xfrm>
            </p:grpSpPr>
            <p:cxnSp>
              <p:nvCxnSpPr>
                <p:cNvPr id="27" name="Straight Connector 26"/>
                <p:cNvCxnSpPr/>
                <p:nvPr/>
              </p:nvCxnSpPr>
              <p:spPr>
                <a:xfrm flipV="1">
                  <a:off x="3053272" y="4800598"/>
                  <a:ext cx="1616703" cy="1255"/>
                </a:xfrm>
                <a:prstGeom prst="line">
                  <a:avLst/>
                </a:prstGeom>
                <a:ln>
                  <a:solidFill>
                    <a:srgbClr val="882D4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/>
                <p:cNvCxnSpPr/>
                <p:nvPr/>
              </p:nvCxnSpPr>
              <p:spPr>
                <a:xfrm flipV="1">
                  <a:off x="3053272" y="4800599"/>
                  <a:ext cx="0" cy="1600200"/>
                </a:xfrm>
                <a:prstGeom prst="line">
                  <a:avLst/>
                </a:prstGeom>
                <a:ln>
                  <a:solidFill>
                    <a:srgbClr val="882D45"/>
                  </a:solidFill>
                </a:ln>
              </p:spPr>
              <p:style>
                <a:lnRef idx="1">
                  <a:schemeClr val="accent4"/>
                </a:lnRef>
                <a:fillRef idx="0">
                  <a:schemeClr val="accent4"/>
                </a:fillRef>
                <a:effectRef idx="0">
                  <a:schemeClr val="accent4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9" name="Group 18"/>
            <p:cNvGrpSpPr/>
            <p:nvPr/>
          </p:nvGrpSpPr>
          <p:grpSpPr>
            <a:xfrm>
              <a:off x="1240713" y="2592963"/>
              <a:ext cx="656957" cy="650251"/>
              <a:chOff x="3053268" y="4800600"/>
              <a:chExt cx="1616703" cy="1600200"/>
            </a:xfrm>
          </p:grpSpPr>
          <p:cxnSp>
            <p:nvCxnSpPr>
              <p:cNvPr id="23" name="Straight Connector 22"/>
              <p:cNvCxnSpPr/>
              <p:nvPr/>
            </p:nvCxnSpPr>
            <p:spPr>
              <a:xfrm flipV="1">
                <a:off x="3053268" y="4800600"/>
                <a:ext cx="1616703" cy="1254"/>
              </a:xfrm>
              <a:prstGeom prst="line">
                <a:avLst/>
              </a:prstGeom>
              <a:ln>
                <a:solidFill>
                  <a:srgbClr val="882D4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 flipV="1">
                <a:off x="3053268" y="4800601"/>
                <a:ext cx="0" cy="1600199"/>
              </a:xfrm>
              <a:prstGeom prst="line">
                <a:avLst/>
              </a:prstGeom>
              <a:ln>
                <a:solidFill>
                  <a:srgbClr val="882D4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/>
            <p:cNvGrpSpPr/>
            <p:nvPr/>
          </p:nvGrpSpPr>
          <p:grpSpPr>
            <a:xfrm rot="16200000">
              <a:off x="1240717" y="3888934"/>
              <a:ext cx="656957" cy="650253"/>
              <a:chOff x="3053264" y="4800601"/>
              <a:chExt cx="1616703" cy="1600203"/>
            </a:xfrm>
          </p:grpSpPr>
          <p:cxnSp>
            <p:nvCxnSpPr>
              <p:cNvPr id="21" name="Straight Connector 20"/>
              <p:cNvCxnSpPr/>
              <p:nvPr/>
            </p:nvCxnSpPr>
            <p:spPr>
              <a:xfrm flipV="1">
                <a:off x="3053265" y="4800601"/>
                <a:ext cx="1616702" cy="1255"/>
              </a:xfrm>
              <a:prstGeom prst="line">
                <a:avLst/>
              </a:prstGeom>
              <a:ln>
                <a:solidFill>
                  <a:srgbClr val="882D4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/>
            </p:nvCxnSpPr>
            <p:spPr>
              <a:xfrm flipV="1">
                <a:off x="3053264" y="4800604"/>
                <a:ext cx="0" cy="1600200"/>
              </a:xfrm>
              <a:prstGeom prst="line">
                <a:avLst/>
              </a:prstGeom>
              <a:ln>
                <a:solidFill>
                  <a:srgbClr val="882D4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1" name="Text Placeholder 41"/>
          <p:cNvSpPr>
            <a:spLocks noGrp="1"/>
          </p:cNvSpPr>
          <p:nvPr>
            <p:ph type="body" sz="quarter" idx="13" hasCustomPrompt="1"/>
          </p:nvPr>
        </p:nvSpPr>
        <p:spPr>
          <a:xfrm>
            <a:off x="2518997" y="3161056"/>
            <a:ext cx="7169191" cy="932872"/>
          </a:xfrm>
        </p:spPr>
        <p:txBody>
          <a:bodyPr>
            <a:noAutofit/>
          </a:bodyPr>
          <a:lstStyle>
            <a:lvl1pPr marL="0" indent="0" algn="ctr">
              <a:buNone/>
              <a:defRPr sz="4800" b="0" baseline="0">
                <a:solidFill>
                  <a:schemeClr val="bg2"/>
                </a:solidFill>
              </a:defRPr>
            </a:lvl1pPr>
            <a:lvl2pPr>
              <a:defRPr sz="2000" b="1">
                <a:solidFill>
                  <a:schemeClr val="tx2"/>
                </a:solidFill>
              </a:defRPr>
            </a:lvl2pPr>
            <a:lvl3pPr>
              <a:defRPr sz="2000" b="1">
                <a:solidFill>
                  <a:schemeClr val="tx2"/>
                </a:solidFill>
              </a:defRPr>
            </a:lvl3pPr>
            <a:lvl4pPr>
              <a:defRPr sz="2000" b="1">
                <a:solidFill>
                  <a:schemeClr val="tx2"/>
                </a:solidFill>
              </a:defRPr>
            </a:lvl4pPr>
            <a:lvl5pPr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8343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77300" y="6493517"/>
            <a:ext cx="1905095" cy="2157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r>
              <a:rPr lang="en-GB" dirty="0"/>
              <a:t>Document type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2"/>
          </p:nvPr>
        </p:nvSpPr>
        <p:spPr>
          <a:xfrm>
            <a:off x="10824564" y="6493516"/>
            <a:ext cx="807812" cy="2120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rgbClr val="882D45"/>
                </a:solidFill>
                <a:latin typeface="+mj-lt"/>
              </a:defRPr>
            </a:lvl1pPr>
          </a:lstStyle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6543789"/>
            <a:ext cx="113574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Rectangle 6">
            <a:hlinkClick r:id="rId2"/>
          </p:cNvPr>
          <p:cNvSpPr/>
          <p:nvPr userDrawn="1"/>
        </p:nvSpPr>
        <p:spPr>
          <a:xfrm>
            <a:off x="269423" y="6493795"/>
            <a:ext cx="9637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b="1" kern="1200" dirty="0">
                <a:solidFill>
                  <a:srgbClr val="882D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manhealth.a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167919" y="196422"/>
            <a:ext cx="1035370" cy="653912"/>
            <a:chOff x="11156630" y="196422"/>
            <a:chExt cx="1035370" cy="653912"/>
          </a:xfrm>
        </p:grpSpPr>
        <p:sp>
          <p:nvSpPr>
            <p:cNvPr id="9" name="Rectangle 8"/>
            <p:cNvSpPr/>
            <p:nvPr/>
          </p:nvSpPr>
          <p:spPr>
            <a:xfrm>
              <a:off x="12078426" y="244880"/>
              <a:ext cx="113574" cy="563862"/>
            </a:xfrm>
            <a:prstGeom prst="rect">
              <a:avLst/>
            </a:prstGeom>
            <a:solidFill>
              <a:srgbClr val="8830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pic>
          <p:nvPicPr>
            <p:cNvPr id="10" name="Picture 9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56630" y="196422"/>
              <a:ext cx="768258" cy="653912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 userDrawn="1"/>
        </p:nvSpPr>
        <p:spPr>
          <a:xfrm flipH="1">
            <a:off x="116323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 flipH="1">
            <a:off x="10806276" y="6543789"/>
            <a:ext cx="18288" cy="135380"/>
          </a:xfrm>
          <a:prstGeom prst="rect">
            <a:avLst/>
          </a:prstGeom>
          <a:solidFill>
            <a:srgbClr val="8830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650664" y="6493516"/>
            <a:ext cx="316993" cy="2120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00347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8C0C717-B20B-46A6-8999-D29297103154}" type="slidenum">
              <a:rPr lang="en-GB" sz="800" smtClean="0">
                <a:solidFill>
                  <a:srgbClr val="882D45"/>
                </a:solidFill>
              </a:rPr>
              <a:pPr algn="r"/>
              <a:t>‹#›</a:t>
            </a:fld>
            <a:endParaRPr lang="en-GB" dirty="0">
              <a:solidFill>
                <a:srgbClr val="882D45"/>
              </a:solidFill>
            </a:endParaRPr>
          </a:p>
        </p:txBody>
      </p:sp>
      <p:sp>
        <p:nvSpPr>
          <p:cNvPr id="32" name="Rectangle 31"/>
          <p:cNvSpPr>
            <a:spLocks/>
          </p:cNvSpPr>
          <p:nvPr userDrawn="1"/>
        </p:nvSpPr>
        <p:spPr bwMode="auto">
          <a:xfrm>
            <a:off x="1570189" y="3452597"/>
            <a:ext cx="8797303" cy="878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anchor="ctr" anchorCtr="0">
            <a:spAutoFit/>
          </a:bodyPr>
          <a:lstStyle/>
          <a:p>
            <a:pPr algn="ctr" defTabSz="1858061">
              <a:lnSpc>
                <a:spcPct val="150000"/>
              </a:lnSpc>
            </a:pPr>
            <a:r>
              <a:rPr lang="en-GB" sz="4400" b="1" spc="203" dirty="0">
                <a:solidFill>
                  <a:srgbClr val="003478"/>
                </a:solidFill>
                <a:latin typeface="+mj-lt"/>
                <a:ea typeface="Montserrat Semi Bold" charset="0"/>
                <a:cs typeface="Montserrat Semi Bold" charset="0"/>
                <a:sym typeface="Bebas Neue" charset="0"/>
              </a:rPr>
              <a:t>Thank you</a:t>
            </a:r>
          </a:p>
        </p:txBody>
      </p:sp>
      <p:sp>
        <p:nvSpPr>
          <p:cNvPr id="33" name="Rectangle 32"/>
          <p:cNvSpPr>
            <a:spLocks/>
          </p:cNvSpPr>
          <p:nvPr userDrawn="1"/>
        </p:nvSpPr>
        <p:spPr bwMode="auto">
          <a:xfrm>
            <a:off x="1570189" y="2294374"/>
            <a:ext cx="8797303" cy="124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anchor="ctr" anchorCtr="0">
            <a:spAutoFit/>
          </a:bodyPr>
          <a:lstStyle/>
          <a:p>
            <a:pPr algn="ctr" defTabSz="1858061" rtl="1">
              <a:lnSpc>
                <a:spcPct val="150000"/>
              </a:lnSpc>
            </a:pPr>
            <a:r>
              <a:rPr lang="ar-JO" sz="5400" b="1" spc="203" dirty="0">
                <a:solidFill>
                  <a:srgbClr val="003478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  <a:sym typeface="Bebas Neue" charset="0"/>
              </a:rPr>
              <a:t>شـكـراً جـزيـلاً</a:t>
            </a:r>
          </a:p>
        </p:txBody>
      </p:sp>
    </p:spTree>
    <p:extLst>
      <p:ext uri="{BB962C8B-B14F-4D97-AF65-F5344CB8AC3E}">
        <p14:creationId xmlns:p14="http://schemas.microsoft.com/office/powerpoint/2010/main" val="3586076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 Placeholder 73"/>
          <p:cNvSpPr>
            <a:spLocks noGrp="1"/>
          </p:cNvSpPr>
          <p:nvPr>
            <p:ph type="body" idx="10"/>
          </p:nvPr>
        </p:nvSpPr>
        <p:spPr>
          <a:xfrm>
            <a:off x="0" y="1597660"/>
            <a:ext cx="12192000" cy="414020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5080" rIns="0" bIns="0" anchor="t"/>
          <a:lstStyle>
            <a:lvl1pPr marL="0" marR="0" indent="0" algn="ctr">
              <a:lnSpc>
                <a:spcPts val="1600"/>
              </a:lnSpc>
              <a:spcAft>
                <a:spcPts val="1535"/>
              </a:spcAft>
              <a:defRPr/>
            </a:lvl1pPr>
          </a:lstStyle>
          <a:p>
            <a:pPr marL="0" marR="0" indent="0" algn="ctr">
              <a:lnSpc>
                <a:spcPts val="1600"/>
              </a:lnSpc>
              <a:spcAft>
                <a:spcPts val="1535"/>
              </a:spcAft>
            </a:pPr>
            <a:r>
              <a:rPr lang="en-US" sz="1400">
                <a:solidFill>
                  <a:srgbClr val="872245"/>
                </a:solidFill>
                <a:latin typeface="Verdana" panose="22635452340000000000" pitchFamily="2"/>
              </a:rPr>
              <a:t>Daman will further invest in Fraud &amp; Abuse prevention tools and awareness campaigns. </a:t>
            </a:r>
          </a:p>
        </p:txBody>
      </p:sp>
      <p:sp>
        <p:nvSpPr>
          <p:cNvPr id="77" name="Text Placeholder 76"/>
          <p:cNvSpPr>
            <a:spLocks noGrp="1"/>
          </p:cNvSpPr>
          <p:nvPr>
            <p:ph type="body" idx="10"/>
          </p:nvPr>
        </p:nvSpPr>
        <p:spPr>
          <a:xfrm>
            <a:off x="731520" y="2011681"/>
            <a:ext cx="6705600" cy="4509135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81000" rIns="0" bIns="0" anchor="t"/>
          <a:lstStyle>
            <a:lvl1pPr marL="0" marR="91440" indent="0" algn="l">
              <a:lnSpc>
                <a:spcPts val="1600"/>
              </a:lnSpc>
              <a:spcBef>
                <a:spcPts val="2350"/>
              </a:spcBef>
              <a:spcAft>
                <a:spcPts val="4605"/>
              </a:spcAft>
              <a:defRPr/>
            </a:lvl1pPr>
          </a:lstStyle>
          <a:p>
            <a:pPr marL="0" marR="777240" indent="0" algn="l">
              <a:lnSpc>
                <a:spcPts val="1600"/>
              </a:lnSpc>
              <a:spcAft>
                <a:spcPts val="0"/>
              </a:spcAft>
            </a:pPr>
            <a:r>
              <a:rPr lang="en-US" sz="1400">
                <a:solidFill>
                  <a:srgbClr val="5F5F5F"/>
                </a:solidFill>
                <a:latin typeface="Verdana" panose="22635452340000000000" pitchFamily="2"/>
              </a:rPr>
              <a:t>The e-claiming system in Abu Dhabi handles an enormous volume of transactions. </a:t>
            </a:r>
          </a:p>
          <a:p>
            <a:pPr marL="0" marR="365760" indent="0" algn="l">
              <a:lnSpc>
                <a:spcPts val="1600"/>
              </a:lnSpc>
              <a:spcBef>
                <a:spcPts val="2355"/>
              </a:spcBef>
              <a:spcAft>
                <a:spcPts val="0"/>
              </a:spcAft>
            </a:pPr>
            <a:r>
              <a:rPr lang="en-US" sz="1400">
                <a:solidFill>
                  <a:srgbClr val="5F5F5F"/>
                </a:solidFill>
                <a:latin typeface="Verdana" panose="22635452340000000000" pitchFamily="2"/>
              </a:rPr>
              <a:t>The use of data mining tools and predictive analytic technology is becoming more and more essential to identify suspicious billing patterns even prior to payment. </a:t>
            </a:r>
          </a:p>
          <a:p>
            <a:pPr marL="0" marR="0" indent="0" algn="l">
              <a:lnSpc>
                <a:spcPts val="1600"/>
              </a:lnSpc>
              <a:spcBef>
                <a:spcPts val="2370"/>
              </a:spcBef>
              <a:spcAft>
                <a:spcPts val="0"/>
              </a:spcAft>
            </a:pPr>
            <a:r>
              <a:rPr lang="en-US" sz="1400">
                <a:solidFill>
                  <a:srgbClr val="5F5F5F"/>
                </a:solidFill>
                <a:latin typeface="Verdana" panose="22635452340000000000" pitchFamily="2"/>
              </a:rPr>
              <a:t>Daman demonstrated no tolerance to fraud and abuse. </a:t>
            </a:r>
          </a:p>
          <a:p>
            <a:pPr marL="0" marR="457200" indent="0" algn="l">
              <a:lnSpc>
                <a:spcPts val="1600"/>
              </a:lnSpc>
              <a:spcBef>
                <a:spcPts val="2355"/>
              </a:spcBef>
              <a:spcAft>
                <a:spcPts val="0"/>
              </a:spcAft>
            </a:pPr>
            <a:r>
              <a:rPr lang="en-US" sz="1400" spc="-5">
                <a:solidFill>
                  <a:srgbClr val="5F5F5F"/>
                </a:solidFill>
                <a:latin typeface="Verdana" panose="22635452340000000000" pitchFamily="2"/>
              </a:rPr>
              <a:t>The coordination with HAAD in reporting suspected fraudulent healthcare providers was successful. </a:t>
            </a:r>
          </a:p>
          <a:p>
            <a:pPr marL="0" marR="91440" indent="0" algn="l">
              <a:lnSpc>
                <a:spcPts val="1600"/>
              </a:lnSpc>
              <a:spcBef>
                <a:spcPts val="2350"/>
              </a:spcBef>
              <a:spcAft>
                <a:spcPts val="4605"/>
              </a:spcAft>
            </a:pPr>
            <a:r>
              <a:rPr lang="en-US" sz="1400">
                <a:solidFill>
                  <a:srgbClr val="5F5F5F"/>
                </a:solidFill>
                <a:latin typeface="Verdana" panose="22635452340000000000" pitchFamily="2"/>
              </a:rPr>
              <a:t>Penalties were applied and lawsuits were filed in civil &amp; criminal court. 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idx="10"/>
          </p:nvPr>
        </p:nvSpPr>
        <p:spPr>
          <a:xfrm>
            <a:off x="0" y="6520815"/>
            <a:ext cx="12192000" cy="120650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4445" rIns="0" bIns="0" anchor="t"/>
          <a:lstStyle>
            <a:lvl1pPr marL="411480" marR="0" indent="0" algn="l">
              <a:lnSpc>
                <a:spcPts val="800"/>
              </a:lnSpc>
              <a:spcAft>
                <a:spcPts val="0"/>
              </a:spcAft>
              <a:tabLst>
                <a:tab pos="4206240" algn="l"/>
                <a:tab pos="8641080" algn="l"/>
              </a:tabLst>
              <a:defRPr/>
            </a:lvl1pPr>
          </a:lstStyle>
          <a:p>
            <a:pPr marL="411480" marR="0" indent="0" algn="l">
              <a:lnSpc>
                <a:spcPts val="800"/>
              </a:lnSpc>
              <a:spcAft>
                <a:spcPts val="0"/>
              </a:spcAft>
              <a:tabLst>
                <a:tab pos="4206240" algn="l"/>
                <a:tab pos="8641080" algn="l"/>
              </a:tabLst>
            </a:pPr>
            <a:r>
              <a:rPr lang="en-US" sz="800">
                <a:solidFill>
                  <a:srgbClr val="872245"/>
                </a:solidFill>
                <a:latin typeface="Verdana" panose="22635452340000000000" pitchFamily="2"/>
              </a:rPr>
              <a:t>03/03/2013 Fraud &amp; Abuse 7 </a:t>
            </a:r>
          </a:p>
        </p:txBody>
      </p:sp>
    </p:spTree>
    <p:extLst>
      <p:ext uri="{BB962C8B-B14F-4D97-AF65-F5344CB8AC3E}">
        <p14:creationId xmlns:p14="http://schemas.microsoft.com/office/powerpoint/2010/main" val="1363763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2DFEB8-4386-4596-A557-A47A8ADF6D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44377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2" imgW="501" imgH="502" progId="TCLayout.ActiveDocument.1">
                  <p:embed/>
                </p:oleObj>
              </mc:Choice>
              <mc:Fallback>
                <p:oleObj name="think-cell Slide" r:id="rId12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5C9EFE2-D017-4FAF-8AB2-5333A931B76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Verdana" panose="020B0604030504040204" pitchFamily="34" charset="0"/>
              <a:ea typeface="+mj-ea"/>
              <a:cs typeface="Microsoft Sans Serif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2D48E8-E6EB-41AB-8E23-B12F41C7317F}" type="datetime1">
              <a:rPr lang="en-US" smtClean="0"/>
              <a:t>2/1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Document typ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EABE5B-8736-4D57-8C95-23D7FCE5CC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1372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4" r:id="rId2"/>
    <p:sldLayoutId id="2147483653" r:id="rId3"/>
    <p:sldLayoutId id="2147483655" r:id="rId4"/>
    <p:sldLayoutId id="2147483656" r:id="rId5"/>
    <p:sldLayoutId id="2147483657" r:id="rId6"/>
    <p:sldLayoutId id="2147483660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63" Type="http://schemas.openxmlformats.org/officeDocument/2006/relationships/oleObject" Target="../embeddings/oleObject2.bin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5" Type="http://schemas.openxmlformats.org/officeDocument/2006/relationships/tags" Target="../tags/tag7.xml"/><Relationship Id="rId61" Type="http://schemas.openxmlformats.org/officeDocument/2006/relationships/slideLayout" Target="../slideLayouts/slideLayout3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image" Target="../media/image1.emf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notesSlide" Target="../notesSlides/notesSlide7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chart" Target="../charts/char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jp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2680789-E41F-4621-BB4E-EE697827F505}"/>
              </a:ext>
            </a:extLst>
          </p:cNvPr>
          <p:cNvSpPr txBox="1"/>
          <p:nvPr/>
        </p:nvSpPr>
        <p:spPr>
          <a:xfrm>
            <a:off x="479502" y="2693013"/>
            <a:ext cx="718517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>
                <a:solidFill>
                  <a:schemeClr val="tx2"/>
                </a:solidFill>
              </a:rPr>
              <a:t>Waste and Overuse</a:t>
            </a:r>
            <a:endParaRPr lang="en-GB" sz="5400" dirty="0">
              <a:solidFill>
                <a:schemeClr val="tx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6FDEAFC-E649-49E2-9D64-8070C2F9F75C}"/>
              </a:ext>
            </a:extLst>
          </p:cNvPr>
          <p:cNvSpPr/>
          <p:nvPr/>
        </p:nvSpPr>
        <p:spPr>
          <a:xfrm>
            <a:off x="479501" y="3616343"/>
            <a:ext cx="102912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Impact on Healthcare Industry Sustainabilit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03CC388-09C9-456C-A375-6CA97EF507B7}"/>
              </a:ext>
            </a:extLst>
          </p:cNvPr>
          <p:cNvSpPr/>
          <p:nvPr/>
        </p:nvSpPr>
        <p:spPr>
          <a:xfrm>
            <a:off x="552389" y="4295516"/>
            <a:ext cx="253868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Dr. Ali Anees</a:t>
            </a:r>
          </a:p>
        </p:txBody>
      </p:sp>
    </p:spTree>
    <p:extLst>
      <p:ext uri="{BB962C8B-B14F-4D97-AF65-F5344CB8AC3E}">
        <p14:creationId xmlns:p14="http://schemas.microsoft.com/office/powerpoint/2010/main" val="3400262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47EF24-CEDE-4ABC-8AEE-670121614A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800" dirty="0"/>
              <a:t>A global challenge to the healthcare indust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0DAE4D-F1F3-4D03-BCEF-010AC8E418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aste and Overuse </a:t>
            </a:r>
            <a:r>
              <a:rPr lang="en-US" dirty="0">
                <a:solidFill>
                  <a:schemeClr val="bg2"/>
                </a:solidFill>
              </a:rPr>
              <a:t>| Overview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960D77-191B-4EFB-9BF6-040637AB14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6318" y="-1455848"/>
            <a:ext cx="1080000" cy="10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1C70206-EA94-4C07-B16F-919E2E0CEC1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2929" y="-1436947"/>
            <a:ext cx="1154209" cy="108000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99DD468C-13E9-4F77-A304-B68EC2F7BED4}"/>
              </a:ext>
            </a:extLst>
          </p:cNvPr>
          <p:cNvGrpSpPr/>
          <p:nvPr/>
        </p:nvGrpSpPr>
        <p:grpSpPr>
          <a:xfrm>
            <a:off x="1613772" y="1483675"/>
            <a:ext cx="2454276" cy="1979870"/>
            <a:chOff x="269874" y="1685795"/>
            <a:chExt cx="2454276" cy="197987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0D10C49-28F5-4F65-9672-E0B925F929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7013" y="1685795"/>
              <a:ext cx="799998" cy="828000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992B243-28B0-496D-A8D7-07802C93B7ED}"/>
                </a:ext>
              </a:extLst>
            </p:cNvPr>
            <p:cNvSpPr/>
            <p:nvPr/>
          </p:nvSpPr>
          <p:spPr>
            <a:xfrm>
              <a:off x="269874" y="2742335"/>
              <a:ext cx="2454276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/>
                <a:t>Healthcare industry growth in UAE is a successful journey</a:t>
              </a:r>
              <a:endParaRPr lang="en-GB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66C05D5-1BF0-46BF-A2B6-2B43A65EF730}"/>
              </a:ext>
            </a:extLst>
          </p:cNvPr>
          <p:cNvSpPr/>
          <p:nvPr/>
        </p:nvSpPr>
        <p:spPr>
          <a:xfrm>
            <a:off x="2440911" y="5201054"/>
            <a:ext cx="29260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Waste and Overuse is an anomaly of the healthcare industry</a:t>
            </a:r>
            <a:endParaRPr lang="en-GB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2811BC-41EC-4461-A029-A41360DF73A0}"/>
              </a:ext>
            </a:extLst>
          </p:cNvPr>
          <p:cNvSpPr/>
          <p:nvPr/>
        </p:nvSpPr>
        <p:spPr>
          <a:xfrm>
            <a:off x="8350869" y="2540214"/>
            <a:ext cx="245789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tructured and standardized billing schemas, that are highly codified 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14F5C96-6A31-4D81-B778-FE6A91664DEC}"/>
              </a:ext>
            </a:extLst>
          </p:cNvPr>
          <p:cNvGrpSpPr/>
          <p:nvPr/>
        </p:nvGrpSpPr>
        <p:grpSpPr>
          <a:xfrm>
            <a:off x="6222249" y="4367502"/>
            <a:ext cx="3379520" cy="2013645"/>
            <a:chOff x="9347054" y="1929020"/>
            <a:chExt cx="3379520" cy="2013645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C60AA65-79F2-4BCC-9292-7D27C1063629}"/>
                </a:ext>
              </a:extLst>
            </p:cNvPr>
            <p:cNvSpPr/>
            <p:nvPr/>
          </p:nvSpPr>
          <p:spPr>
            <a:xfrm>
              <a:off x="10082867" y="1929020"/>
              <a:ext cx="1603324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3200" dirty="0">
                  <a:solidFill>
                    <a:schemeClr val="accent4"/>
                  </a:solidFill>
                </a:rPr>
                <a:t>3</a:t>
              </a:r>
              <a:r>
                <a:rPr lang="en-US" sz="3200" dirty="0"/>
                <a:t>-</a:t>
              </a:r>
              <a:r>
                <a:rPr lang="en-US" sz="3200" dirty="0">
                  <a:solidFill>
                    <a:schemeClr val="accent4"/>
                  </a:solidFill>
                </a:rPr>
                <a:t>10</a:t>
              </a:r>
              <a:r>
                <a:rPr lang="en-US" sz="2800" b="1" baseline="40000" dirty="0"/>
                <a:t>%</a:t>
              </a:r>
              <a:r>
                <a:rPr lang="en-US" sz="3200" dirty="0"/>
                <a:t> </a:t>
              </a:r>
              <a:endParaRPr lang="en-GB" sz="32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18EED58-35E1-4704-BE09-C7A06D890842}"/>
                </a:ext>
              </a:extLst>
            </p:cNvPr>
            <p:cNvSpPr/>
            <p:nvPr/>
          </p:nvSpPr>
          <p:spPr>
            <a:xfrm>
              <a:off x="9347054" y="2742336"/>
              <a:ext cx="3379520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/>
                <a:t>US estimated waste and overuse of the healthcare spending according to the 2011 FBI Journal</a:t>
              </a:r>
              <a:endParaRPr lang="en-GB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2B622E3-A7A9-482A-B55D-D2082539EA5F}"/>
              </a:ext>
            </a:extLst>
          </p:cNvPr>
          <p:cNvGrpSpPr/>
          <p:nvPr/>
        </p:nvGrpSpPr>
        <p:grpSpPr>
          <a:xfrm>
            <a:off x="4844639" y="1411675"/>
            <a:ext cx="3044719" cy="2328868"/>
            <a:chOff x="4269389" y="4045513"/>
            <a:chExt cx="3044719" cy="2328868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4610A9B4-C34C-448C-B6B0-9FBB51982D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7757" y="4045513"/>
              <a:ext cx="900000" cy="900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A241A65-7BEA-4E40-B6CB-FCBC7CD970B9}"/>
                </a:ext>
              </a:extLst>
            </p:cNvPr>
            <p:cNvSpPr/>
            <p:nvPr/>
          </p:nvSpPr>
          <p:spPr>
            <a:xfrm>
              <a:off x="4269389" y="5174052"/>
              <a:ext cx="304471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/>
                <a:t>Collaboration between the providers and payers is highly supported by regulators</a:t>
              </a:r>
              <a:endParaRPr lang="en-GB" dirty="0"/>
            </a:p>
          </p:txBody>
        </p:sp>
      </p:grpSp>
      <p:sp>
        <p:nvSpPr>
          <p:cNvPr id="21" name="Date Placeholder 4">
            <a:extLst>
              <a:ext uri="{FF2B5EF4-FFF2-40B4-BE49-F238E27FC236}">
                <a16:creationId xmlns:a16="http://schemas.microsoft.com/office/drawing/2014/main" id="{C8597AB5-3988-4671-A6D5-2530238D21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24564" y="6493516"/>
            <a:ext cx="807812" cy="212083"/>
          </a:xfrm>
        </p:spPr>
        <p:txBody>
          <a:bodyPr/>
          <a:lstStyle/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3C78E6-0F75-41E9-9784-EDEF14F2E6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7137" y="1447674"/>
            <a:ext cx="900001" cy="90000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68E6397F-E99E-493E-9D8F-BA846859A11A}"/>
              </a:ext>
            </a:extLst>
          </p:cNvPr>
          <p:cNvGrpSpPr/>
          <p:nvPr/>
        </p:nvGrpSpPr>
        <p:grpSpPr>
          <a:xfrm>
            <a:off x="3277658" y="4367502"/>
            <a:ext cx="626270" cy="647327"/>
            <a:chOff x="928756" y="4012562"/>
            <a:chExt cx="626270" cy="647327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58B5326-673D-4692-A1FA-3A113A3BE6F0}"/>
                </a:ext>
              </a:extLst>
            </p:cNvPr>
            <p:cNvSpPr/>
            <p:nvPr/>
          </p:nvSpPr>
          <p:spPr>
            <a:xfrm>
              <a:off x="928756" y="4012562"/>
              <a:ext cx="274320" cy="274320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140820E-AEF0-4703-8EA5-15B79B767264}"/>
                </a:ext>
              </a:extLst>
            </p:cNvPr>
            <p:cNvSpPr/>
            <p:nvPr/>
          </p:nvSpPr>
          <p:spPr>
            <a:xfrm>
              <a:off x="1306758" y="4038614"/>
              <a:ext cx="248268" cy="248268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496634-B2B9-484B-87BF-A54F55429101}"/>
                </a:ext>
              </a:extLst>
            </p:cNvPr>
            <p:cNvSpPr/>
            <p:nvPr/>
          </p:nvSpPr>
          <p:spPr>
            <a:xfrm>
              <a:off x="1306758" y="4410839"/>
              <a:ext cx="248268" cy="248268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EDA32CC-C6A0-4B77-9A9F-55569C6AD7B4}"/>
                </a:ext>
              </a:extLst>
            </p:cNvPr>
            <p:cNvSpPr/>
            <p:nvPr/>
          </p:nvSpPr>
          <p:spPr>
            <a:xfrm>
              <a:off x="954808" y="4411621"/>
              <a:ext cx="248268" cy="248268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31849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B7B6CD-E7E9-430C-A545-F19BC24462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9874" y="559707"/>
            <a:ext cx="10424160" cy="611413"/>
          </a:xfrm>
        </p:spPr>
        <p:txBody>
          <a:bodyPr/>
          <a:lstStyle/>
          <a:p>
            <a:r>
              <a:rPr lang="en-US" sz="1800" dirty="0"/>
              <a:t>Daman heavily invested into resources and systems to detect fraud waste and abuse to protect the funds of its memb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0DAE4D-F1F3-4D03-BCEF-010AC8E418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aste and Overuse </a:t>
            </a:r>
            <a:r>
              <a:rPr lang="en-US" dirty="0">
                <a:solidFill>
                  <a:schemeClr val="bg2"/>
                </a:solidFill>
              </a:rPr>
              <a:t>| Framework and Governance</a:t>
            </a:r>
            <a:endParaRPr lang="en-GB" dirty="0">
              <a:solidFill>
                <a:schemeClr val="bg2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31AB0FB-C8AD-44A4-BA4A-EFB63AD27111}"/>
              </a:ext>
            </a:extLst>
          </p:cNvPr>
          <p:cNvGrpSpPr/>
          <p:nvPr/>
        </p:nvGrpSpPr>
        <p:grpSpPr>
          <a:xfrm>
            <a:off x="99235" y="1514830"/>
            <a:ext cx="2579077" cy="1900868"/>
            <a:chOff x="269651" y="2045982"/>
            <a:chExt cx="2579077" cy="190086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91A2302-364B-4DE0-87E5-2333C80293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89" y="2045982"/>
              <a:ext cx="720000" cy="7200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420AF69-CD74-4A34-81B3-88A8AB0F207F}"/>
                </a:ext>
              </a:extLst>
            </p:cNvPr>
            <p:cNvSpPr txBox="1"/>
            <p:nvPr/>
          </p:nvSpPr>
          <p:spPr>
            <a:xfrm>
              <a:off x="269651" y="3023520"/>
              <a:ext cx="257907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Obligation to protect members fund and healthcare quality</a:t>
              </a:r>
              <a:endParaRPr lang="en-GB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E7DB10-E4AA-4231-8232-629BB30A2774}"/>
              </a:ext>
            </a:extLst>
          </p:cNvPr>
          <p:cNvGrpSpPr/>
          <p:nvPr/>
        </p:nvGrpSpPr>
        <p:grpSpPr>
          <a:xfrm>
            <a:off x="2798380" y="1514830"/>
            <a:ext cx="2977642" cy="1870833"/>
            <a:chOff x="3028358" y="2045982"/>
            <a:chExt cx="2977642" cy="1870833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90C8DB86-C3C0-4A10-BD69-94A30A0BA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57179" y="2045982"/>
              <a:ext cx="720000" cy="720000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94090A8-C0DE-4371-AF90-A05A6EE06FED}"/>
                </a:ext>
              </a:extLst>
            </p:cNvPr>
            <p:cNvSpPr txBox="1"/>
            <p:nvPr/>
          </p:nvSpPr>
          <p:spPr>
            <a:xfrm>
              <a:off x="3028358" y="2993485"/>
              <a:ext cx="297764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Control measure to reduce unnecessary healthcare expenditure</a:t>
              </a:r>
              <a:endParaRPr lang="en-GB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6718309-5A61-4FFD-80D7-8E244E0F2C66}"/>
              </a:ext>
            </a:extLst>
          </p:cNvPr>
          <p:cNvGrpSpPr/>
          <p:nvPr/>
        </p:nvGrpSpPr>
        <p:grpSpPr>
          <a:xfrm>
            <a:off x="5873026" y="1522028"/>
            <a:ext cx="2763109" cy="2122582"/>
            <a:chOff x="6076091" y="2227884"/>
            <a:chExt cx="2763109" cy="2122582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8A47D21-21E0-463B-9687-2C739B67C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75102" y="2227884"/>
              <a:ext cx="720000" cy="72000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9E5C1F7-CA8D-434A-AAE5-5705AFF95E0A}"/>
                </a:ext>
              </a:extLst>
            </p:cNvPr>
            <p:cNvSpPr txBox="1"/>
            <p:nvPr/>
          </p:nvSpPr>
          <p:spPr>
            <a:xfrm>
              <a:off x="6076091" y="3150137"/>
              <a:ext cx="276310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Specialized team with medical, coding, analytical, and audit expertise</a:t>
              </a:r>
              <a:endParaRPr lang="en-GB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9705C14-9C2C-41A3-A2FA-6ED767B51618}"/>
              </a:ext>
            </a:extLst>
          </p:cNvPr>
          <p:cNvGrpSpPr/>
          <p:nvPr/>
        </p:nvGrpSpPr>
        <p:grpSpPr>
          <a:xfrm>
            <a:off x="8970736" y="1601326"/>
            <a:ext cx="2473570" cy="2031394"/>
            <a:chOff x="9323363" y="2037749"/>
            <a:chExt cx="2473570" cy="2031394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0FF8D8BD-EDF5-4D0A-BA5D-A2CFE82204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0148" y="2037749"/>
              <a:ext cx="720000" cy="720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9FD366-F736-40AD-8A3A-0962F0B850E4}"/>
                </a:ext>
              </a:extLst>
            </p:cNvPr>
            <p:cNvSpPr/>
            <p:nvPr/>
          </p:nvSpPr>
          <p:spPr>
            <a:xfrm>
              <a:off x="9323363" y="2868814"/>
              <a:ext cx="2473570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ea typeface="ＭＳ Ｐゴシック" charset="0"/>
                  <a:cs typeface="ＭＳ Ｐゴシック" charset="0"/>
                </a:rPr>
                <a:t>Availability of whistleblowing platforms internally and externally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D9BCE3C-3C69-4369-8DAD-808822BE07CC}"/>
              </a:ext>
            </a:extLst>
          </p:cNvPr>
          <p:cNvGrpSpPr/>
          <p:nvPr/>
        </p:nvGrpSpPr>
        <p:grpSpPr>
          <a:xfrm>
            <a:off x="249962" y="3960438"/>
            <a:ext cx="2644746" cy="2396213"/>
            <a:chOff x="249962" y="3960438"/>
            <a:chExt cx="2644746" cy="2396213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20F4E667-422F-4DF1-8821-85796D7F2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5169" y="3960438"/>
              <a:ext cx="648000" cy="648000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73EF734-5CF8-4357-B283-6D616C6872BE}"/>
                </a:ext>
              </a:extLst>
            </p:cNvPr>
            <p:cNvSpPr/>
            <p:nvPr/>
          </p:nvSpPr>
          <p:spPr>
            <a:xfrm>
              <a:off x="249962" y="5156322"/>
              <a:ext cx="2644746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ea typeface="ＭＳ Ｐゴシック" charset="0"/>
                  <a:cs typeface="ＭＳ Ｐゴシック" charset="0"/>
                </a:rPr>
                <a:t>Helpline to anonymously report any suspicions of waste and overus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2E1769E-36EB-4482-9DA4-6E383D9F280E}"/>
              </a:ext>
            </a:extLst>
          </p:cNvPr>
          <p:cNvGrpSpPr/>
          <p:nvPr/>
        </p:nvGrpSpPr>
        <p:grpSpPr>
          <a:xfrm>
            <a:off x="3151364" y="3960438"/>
            <a:ext cx="2291267" cy="2119214"/>
            <a:chOff x="3151364" y="3960438"/>
            <a:chExt cx="2291267" cy="2119214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1A26C595-F90E-4600-8464-DC72F368FB2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6997" y="3960438"/>
              <a:ext cx="720000" cy="7200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082F383-6F92-4894-A58A-15757F89183B}"/>
                </a:ext>
              </a:extLst>
            </p:cNvPr>
            <p:cNvSpPr txBox="1"/>
            <p:nvPr/>
          </p:nvSpPr>
          <p:spPr>
            <a:xfrm>
              <a:off x="3151364" y="5156322"/>
              <a:ext cx="229126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ea typeface="ＭＳ Ｐゴシック" charset="0"/>
                  <a:cs typeface="ＭＳ Ｐゴシック" charset="0"/>
                </a:rPr>
                <a:t>National media campaign to raise awareness</a:t>
              </a:r>
              <a:endParaRPr lang="en-GB" dirty="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2B8C656-7829-4ABB-9F4B-EF3588DA6318}"/>
              </a:ext>
            </a:extLst>
          </p:cNvPr>
          <p:cNvGrpSpPr/>
          <p:nvPr/>
        </p:nvGrpSpPr>
        <p:grpSpPr>
          <a:xfrm>
            <a:off x="5699287" y="3960438"/>
            <a:ext cx="2833470" cy="2396213"/>
            <a:chOff x="5699287" y="3960438"/>
            <a:chExt cx="2833470" cy="2396213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E58384A6-9588-4B1F-B973-873A9D8FBF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46647" y="3960438"/>
              <a:ext cx="1338750" cy="720000"/>
            </a:xfrm>
            <a:prstGeom prst="rect">
              <a:avLst/>
            </a:prstGeom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59459FC-4E28-44F2-8816-EADBD3BBBDC2}"/>
                </a:ext>
              </a:extLst>
            </p:cNvPr>
            <p:cNvSpPr/>
            <p:nvPr/>
          </p:nvSpPr>
          <p:spPr>
            <a:xfrm>
              <a:off x="5699287" y="5156322"/>
              <a:ext cx="2833470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ea typeface="ＭＳ Ｐゴシック" charset="0"/>
                  <a:cs typeface="ＭＳ Ｐゴシック" charset="0"/>
                </a:rPr>
                <a:t>Referral to the appropriate regulatory authority and delisting from network</a:t>
              </a:r>
              <a:endParaRPr lang="en-GB" dirty="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8C15179-61F2-46DA-8514-860D620129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6022" y="4606819"/>
              <a:ext cx="1260000" cy="480294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EB96F1C-4FF1-4480-8E5B-9C23BD4EC540}"/>
              </a:ext>
            </a:extLst>
          </p:cNvPr>
          <p:cNvGrpSpPr/>
          <p:nvPr/>
        </p:nvGrpSpPr>
        <p:grpSpPr>
          <a:xfrm>
            <a:off x="8789412" y="3960438"/>
            <a:ext cx="2654894" cy="1842215"/>
            <a:chOff x="8789412" y="3960438"/>
            <a:chExt cx="2654894" cy="1842215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0C6E4E3A-E377-4B63-BF4D-D9D721A8A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56859" y="3960438"/>
              <a:ext cx="720000" cy="720000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3BCCFBE-7847-4F80-9A6D-D9842E3353D2}"/>
                </a:ext>
              </a:extLst>
            </p:cNvPr>
            <p:cNvSpPr/>
            <p:nvPr/>
          </p:nvSpPr>
          <p:spPr>
            <a:xfrm>
              <a:off x="8789412" y="5156322"/>
              <a:ext cx="2654894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ea typeface="ＭＳ Ｐゴシック" charset="0"/>
                  <a:cs typeface="ＭＳ Ｐゴシック" charset="0"/>
                </a:rPr>
                <a:t>Criminal prosecution </a:t>
              </a:r>
            </a:p>
            <a:p>
              <a:r>
                <a:rPr lang="en-US" dirty="0">
                  <a:solidFill>
                    <a:schemeClr val="tx1">
                      <a:lumMod val="50000"/>
                    </a:schemeClr>
                  </a:solidFill>
                  <a:ea typeface="ＭＳ Ｐゴシック" charset="0"/>
                  <a:cs typeface="ＭＳ Ｐゴシック" charset="0"/>
                </a:rPr>
                <a:t>and civil recovery</a:t>
              </a:r>
            </a:p>
          </p:txBody>
        </p:sp>
      </p:grpSp>
      <p:sp>
        <p:nvSpPr>
          <p:cNvPr id="29" name="Date Placeholder 4">
            <a:extLst>
              <a:ext uri="{FF2B5EF4-FFF2-40B4-BE49-F238E27FC236}">
                <a16:creationId xmlns:a16="http://schemas.microsoft.com/office/drawing/2014/main" id="{FC9A159E-D83B-434B-B76E-37B0146306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24564" y="6493516"/>
            <a:ext cx="807812" cy="212083"/>
          </a:xfrm>
        </p:spPr>
        <p:txBody>
          <a:bodyPr/>
          <a:lstStyle/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670662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A8BC477-6DC3-47B3-841B-37D7D9C051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800" dirty="0"/>
              <a:t>Focused and stratified sample of paid clai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9F8EE6-EFED-4335-87B2-A1C71FD035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aste and Overuse </a:t>
            </a:r>
            <a:r>
              <a:rPr lang="en-GB" dirty="0">
                <a:solidFill>
                  <a:schemeClr val="bg2"/>
                </a:solidFill>
              </a:rPr>
              <a:t>| Audit Statistic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E3B42A-A31B-48DD-B98F-7EA9D8370F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E006CF-D9E8-4BAB-AD9B-663C6B4091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9651" y="1095153"/>
            <a:ext cx="11612880" cy="5138007"/>
          </a:xfrm>
        </p:spPr>
        <p:txBody>
          <a:bodyPr/>
          <a:lstStyle/>
          <a:p>
            <a:r>
              <a:rPr lang="en-US" sz="1800" dirty="0"/>
              <a:t>Health insurance misuse and abuse is inherit in every health insurance system. Vulnerabilities or major audit findings are tracked for purposes of developing and monitoring corrective measures.</a:t>
            </a:r>
          </a:p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BE345C-3DE7-4316-B479-A58EEE1A2D78}"/>
              </a:ext>
            </a:extLst>
          </p:cNvPr>
          <p:cNvSpPr txBox="1"/>
          <p:nvPr/>
        </p:nvSpPr>
        <p:spPr>
          <a:xfrm>
            <a:off x="810578" y="2262770"/>
            <a:ext cx="5083487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/>
              <a:t>&gt;3,000 providers 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&gt;6,000 audit visits 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&gt;2 million claims/medical record</a:t>
            </a:r>
          </a:p>
          <a:p>
            <a:pPr>
              <a:lnSpc>
                <a:spcPct val="150000"/>
              </a:lnSpc>
            </a:pP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&gt;100 suspected fraud cases reported to the regul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endParaRPr lang="en-GB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DD00876-3CE2-4BFE-BA3E-D5EE8E226A0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578" y="3937773"/>
            <a:ext cx="468000" cy="46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79D05D3-C8B0-4AAC-AC06-1946E273840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86" y="3140042"/>
            <a:ext cx="468000" cy="46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4D764EF-6352-4CF2-B733-DADF016558C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7" r="13977" b="14035"/>
          <a:stretch/>
        </p:blipFill>
        <p:spPr>
          <a:xfrm>
            <a:off x="420307" y="2303803"/>
            <a:ext cx="390271" cy="46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79AE22A-B6E7-4783-A80C-7571FB2B960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578" y="4735504"/>
            <a:ext cx="468000" cy="468000"/>
          </a:xfrm>
          <a:prstGeom prst="rect">
            <a:avLst/>
          </a:prstGeom>
        </p:spPr>
      </p:pic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1A8CFB34-CCCB-4D0D-9F1C-03F8DFB6A3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7978016"/>
              </p:ext>
            </p:extLst>
          </p:nvPr>
        </p:nvGraphicFramePr>
        <p:xfrm>
          <a:off x="4983464" y="1973171"/>
          <a:ext cx="7208536" cy="4325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365699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542B1D-2ACC-428A-88A4-C89C00502D7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800" dirty="0"/>
              <a:t>Patterns &amp; behavi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821C19-EA77-4993-B6AC-6F8AE608E5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aste and Overuse </a:t>
            </a:r>
            <a:r>
              <a:rPr lang="en-GB" dirty="0">
                <a:solidFill>
                  <a:schemeClr val="bg2"/>
                </a:solidFill>
              </a:rPr>
              <a:t>| Big Data Analytics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C7C6E1-42E3-46EA-9501-FCB4AEEFAE0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247580-0E66-4D3F-A793-E59B7F5E22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9651" y="1116419"/>
            <a:ext cx="11612880" cy="5116741"/>
          </a:xfrm>
        </p:spPr>
        <p:txBody>
          <a:bodyPr/>
          <a:lstStyle/>
          <a:p>
            <a:r>
              <a:rPr lang="en-US" dirty="0">
                <a:latin typeface="Verdana" panose="22635452340000000000" pitchFamily="2"/>
              </a:rPr>
              <a:t>The use of data mining tools and predictive analytic technology is becoming more and more essential to identify suspicious billing patterns. </a:t>
            </a:r>
          </a:p>
          <a:p>
            <a:endParaRPr lang="en-US" dirty="0">
              <a:latin typeface="Verdana" panose="22635452340000000000" pitchFamily="2"/>
            </a:endParaRPr>
          </a:p>
          <a:p>
            <a:r>
              <a:rPr lang="en-US" dirty="0">
                <a:latin typeface="Verdana" panose="22635452340000000000" pitchFamily="2"/>
              </a:rPr>
              <a:t>Variety of methods are used to detect misuse and abuse schemes</a:t>
            </a:r>
          </a:p>
          <a:p>
            <a:pPr marL="514350" lvl="2" indent="-171450">
              <a:lnSpc>
                <a:spcPct val="120000"/>
              </a:lnSpc>
            </a:pPr>
            <a:r>
              <a:rPr lang="en-US" dirty="0">
                <a:solidFill>
                  <a:srgbClr val="5F5F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ata mining tools</a:t>
            </a:r>
          </a:p>
          <a:p>
            <a:pPr marL="514350" lvl="2" indent="-171450">
              <a:lnSpc>
                <a:spcPct val="120000"/>
              </a:lnSpc>
            </a:pPr>
            <a:r>
              <a:rPr lang="en-US" dirty="0">
                <a:solidFill>
                  <a:srgbClr val="5F5F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ocial network analysis </a:t>
            </a:r>
          </a:p>
          <a:p>
            <a:pPr marL="514350" lvl="2" indent="-171450">
              <a:lnSpc>
                <a:spcPct val="120000"/>
              </a:lnSpc>
            </a:pPr>
            <a:r>
              <a:rPr lang="en-US" dirty="0">
                <a:solidFill>
                  <a:srgbClr val="5F5F5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edictive modeling</a:t>
            </a:r>
          </a:p>
          <a:p>
            <a:endParaRPr lang="en-US" dirty="0">
              <a:latin typeface="Verdana" panose="22635452340000000000" pitchFamily="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7CC2EE-73ED-4A54-8792-70865E0731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33" t="3594" r="1885" b="63722"/>
          <a:stretch/>
        </p:blipFill>
        <p:spPr>
          <a:xfrm>
            <a:off x="973588" y="3729317"/>
            <a:ext cx="10142646" cy="234882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057729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DD30F5-4241-46F7-94B0-3736A23BB2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800" dirty="0"/>
              <a:t>Daman’s know-how in tackling outliers</a:t>
            </a:r>
            <a:endParaRPr lang="en-GB" sz="1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5E66DE-3389-4390-9E20-CE09DBC994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9875" y="158980"/>
            <a:ext cx="10907462" cy="365760"/>
          </a:xfrm>
        </p:spPr>
        <p:txBody>
          <a:bodyPr/>
          <a:lstStyle/>
          <a:p>
            <a:r>
              <a:rPr lang="en-US" dirty="0"/>
              <a:t>Waste and Overuse </a:t>
            </a:r>
            <a:r>
              <a:rPr lang="en-US" dirty="0">
                <a:solidFill>
                  <a:schemeClr val="bg2"/>
                </a:solidFill>
              </a:rPr>
              <a:t>| Focused Behavioral Interventions</a:t>
            </a:r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7190A3-6937-4D9B-BBBC-828FE4C880E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AEE003-C1A0-47D0-9E13-15A2962BB7AA}"/>
              </a:ext>
            </a:extLst>
          </p:cNvPr>
          <p:cNvSpPr/>
          <p:nvPr/>
        </p:nvSpPr>
        <p:spPr>
          <a:xfrm>
            <a:off x="1291200" y="1343557"/>
            <a:ext cx="109074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GB" dirty="0"/>
              <a:t>Trend Analysis and Focused Behavioural Interven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16D334-F796-42DC-B514-B29EC9A88A0D}"/>
              </a:ext>
            </a:extLst>
          </p:cNvPr>
          <p:cNvSpPr txBox="1"/>
          <p:nvPr/>
        </p:nvSpPr>
        <p:spPr>
          <a:xfrm>
            <a:off x="1205143" y="3840246"/>
            <a:ext cx="10525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xcessive behaviour lies above a set percentile threshold of the local market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F68E91-F95C-4080-B0BF-A404538736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1" r="8011" b="15088"/>
          <a:stretch/>
        </p:blipFill>
        <p:spPr>
          <a:xfrm>
            <a:off x="375286" y="1154546"/>
            <a:ext cx="720000" cy="72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EBF3076-D744-4E8D-A339-5706DDDA62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385" y="2879086"/>
            <a:ext cx="720000" cy="72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E927E31-B084-4A18-A4BF-1B728A688A7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90"/>
          <a:stretch/>
        </p:blipFill>
        <p:spPr>
          <a:xfrm>
            <a:off x="363386" y="2042123"/>
            <a:ext cx="720000" cy="72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515D629-07D9-4603-9673-94041F41CC1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385" y="3766663"/>
            <a:ext cx="720000" cy="720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D0C39C8-C5FB-4356-8953-58146812BDE1}"/>
              </a:ext>
            </a:extLst>
          </p:cNvPr>
          <p:cNvSpPr/>
          <p:nvPr/>
        </p:nvSpPr>
        <p:spPr>
          <a:xfrm>
            <a:off x="1291200" y="2978072"/>
            <a:ext cx="107452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Standardized and codified claims data support big data analytics  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A38D500-F1B8-4960-BA08-6433E9997236}"/>
              </a:ext>
            </a:extLst>
          </p:cNvPr>
          <p:cNvSpPr/>
          <p:nvPr/>
        </p:nvSpPr>
        <p:spPr>
          <a:xfrm>
            <a:off x="1291200" y="2177653"/>
            <a:ext cx="109074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Fair local benchmarking and peer reviews  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073CE8C-964A-4CE9-85AE-15ADC9EF1075}"/>
              </a:ext>
            </a:extLst>
          </p:cNvPr>
          <p:cNvSpPr/>
          <p:nvPr/>
        </p:nvSpPr>
        <p:spPr>
          <a:xfrm>
            <a:off x="1291200" y="4735794"/>
            <a:ext cx="105255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Positive shift towards improvement in the utilisation behaviour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F2E91A9-A057-4A95-B62D-47125E4CBCA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86" y="4656157"/>
            <a:ext cx="720000" cy="72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97FFB20-737D-46BA-8D3D-552E54A767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80428" y="4604103"/>
            <a:ext cx="2685000" cy="1658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408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2" name="Object 151" hidden="1">
            <a:extLst>
              <a:ext uri="{FF2B5EF4-FFF2-40B4-BE49-F238E27FC236}">
                <a16:creationId xmlns:a16="http://schemas.microsoft.com/office/drawing/2014/main" id="{72BC5530-440C-4136-AE07-3F5D0F29B4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36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63" imgW="501" imgH="502" progId="TCLayout.ActiveDocument.1">
                  <p:embed/>
                </p:oleObj>
              </mc:Choice>
              <mc:Fallback>
                <p:oleObj name="think-cell Slide" r:id="rId6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 hidden="1">
            <a:extLst>
              <a:ext uri="{FF2B5EF4-FFF2-40B4-BE49-F238E27FC236}">
                <a16:creationId xmlns:a16="http://schemas.microsoft.com/office/drawing/2014/main" id="{9C3E2790-B951-4F10-B130-6523D395D4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100" dirty="0">
              <a:ea typeface="Verdana" panose="020B0604030504040204" pitchFamily="34" charset="0"/>
              <a:sym typeface="+mn-lt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E03E0E5-1F82-4F9A-B352-D266699C70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800" dirty="0"/>
              <a:t>Laboratory Spending 2015 - 2017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F9AB50-8CFD-4EC2-8D5A-C52D3904F3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aste and Overuse | </a:t>
            </a:r>
            <a:r>
              <a:rPr lang="en-US" dirty="0">
                <a:solidFill>
                  <a:schemeClr val="bg2"/>
                </a:solidFill>
              </a:rPr>
              <a:t>Intervention Outcom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82181B-62B1-439C-8C7F-DE709606759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733821FE-73A6-4EB7-9830-904E974B9CF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19088" y="5291138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2261F195-94E7-494A-84D4-D3436FDDEC2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19088" y="3360738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EF81124E-EC0E-4CEB-9027-2B9A5E21210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19088" y="1627188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50046CE-7B77-43D7-8B55-77DAC80C831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19088" y="5483225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0E558FB5-4371-4519-AC6D-6D0C6AC4820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19088" y="3552825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EFFC99C-244F-418D-BCAB-C681A842A31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19088" y="3168650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88F907E4-3063-4C9E-B9E1-7005621E73F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319088" y="4708525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37AD1817-EBA4-433A-88F9-2A8E3441D2F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19088" y="4324350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CE10826-AD39-4978-8D71-5E2790BC3FE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319088" y="2012950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7496D2FA-6631-4F4B-81DC-D8C3C59F01D2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319088" y="2976563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DE735747-4C71-4440-9092-33EDD632A15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319088" y="2782888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1C325EF5-4584-4193-97D9-CEC75E7275D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319088" y="1820863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E2AEB9E2-538D-4B79-9F70-249487047B3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319088" y="5099050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5B318C9-0FD1-4FAF-9403-634266CD5CD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319088" y="4516438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FDA039A4-C39F-4DE9-B8A7-4312D1265797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319088" y="1435100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F544FB9-682F-4603-AE2B-0BA7930BCEEF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319088" y="4130675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0E72944-9DBC-4C84-BD61-3BEB3C4ECD8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319088" y="2590800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AD75E6F1-179D-4AD2-9A7E-B1FE663109B6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319088" y="3938588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B094A23E-6F37-424B-A71B-9632ABB26B2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319088" y="3746500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53A68639-7054-474B-9C38-C6DD2FC3E1A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319088" y="2398713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25659B2C-9E3A-4FB5-8A22-09640354193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319088" y="2205038"/>
            <a:ext cx="46038" cy="0"/>
          </a:xfrm>
          <a:prstGeom prst="line">
            <a:avLst/>
          </a:prstGeom>
          <a:ln w="9525" algn="ctr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6" name="Chart 165">
            <a:extLst>
              <a:ext uri="{FF2B5EF4-FFF2-40B4-BE49-F238E27FC236}">
                <a16:creationId xmlns:a16="http://schemas.microsoft.com/office/drawing/2014/main" id="{4E64366A-F309-42C7-A2E3-26813EED8E5B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685929841"/>
              </p:ext>
            </p:extLst>
          </p:nvPr>
        </p:nvGraphicFramePr>
        <p:xfrm>
          <a:off x="282575" y="1352550"/>
          <a:ext cx="11220450" cy="421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 useBgFill="1">
        <p:nvSpPr>
          <p:cNvPr id="102" name="Freeform: Shape 101">
            <a:extLst>
              <a:ext uri="{FF2B5EF4-FFF2-40B4-BE49-F238E27FC236}">
                <a16:creationId xmlns:a16="http://schemas.microsoft.com/office/drawing/2014/main" id="{CE77D23B-B563-4939-9D3B-AFCBE5FCAA70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292100" y="49117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81886757-0BAE-4A97-9BB6-33603D3E2AE5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292100" y="49688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06406295-6D87-4476-B54A-C5F99B81EEC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292100" y="49117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5757635D-FB88-422E-BE99-870D3BCA278B}"/>
              </a:ext>
            </a:extLst>
          </p:cNvPr>
          <p:cNvCxnSpPr>
            <a:stCxn id="166" idx="0"/>
            <a:endCxn id="166" idx="3"/>
          </p:cNvCxnSpPr>
          <p:nvPr>
            <p:custDataLst>
              <p:tags r:id="rId29"/>
            </p:custDataLst>
          </p:nvPr>
        </p:nvCxnSpPr>
        <p:spPr bwMode="gray">
          <a:xfrm>
            <a:off x="5892800" y="1352550"/>
            <a:ext cx="5610225" cy="2106612"/>
          </a:xfrm>
          <a:prstGeom prst="line">
            <a:avLst/>
          </a:prstGeom>
          <a:ln w="12700" algn="ctr">
            <a:solidFill>
              <a:srgbClr val="C30C3E"/>
            </a:solidFill>
            <a:headEnd type="none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6788F9AC-1629-4AE0-A720-E5A8399A0BA3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V="1">
            <a:off x="5497513" y="1377950"/>
            <a:ext cx="0" cy="76200"/>
          </a:xfrm>
          <a:prstGeom prst="line">
            <a:avLst/>
          </a:prstGeom>
          <a:ln w="12700" algn="ctr">
            <a:solidFill>
              <a:srgbClr val="C30C3E"/>
            </a:solidFill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Text Placeholder 7">
            <a:extLst>
              <a:ext uri="{FF2B5EF4-FFF2-40B4-BE49-F238E27FC236}">
                <a16:creationId xmlns:a16="http://schemas.microsoft.com/office/drawing/2014/main" id="{80F7D782-EF51-47BF-8FB6-B368426DBA8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783513" y="5529263"/>
            <a:ext cx="168275" cy="27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3BB0BA7-7F0F-4942-9B64-77032FC92498}" type="datetime'''A''''u''g'''''''''''''''''''''">
              <a:rPr lang="en-US" altLang="en-US" sz="1100" smtClean="0">
                <a:solidFill>
                  <a:schemeClr val="tx1"/>
                </a:solidFill>
              </a:rPr>
              <a:pPr/>
              <a:t>Aug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31" name="Text Placeholder 8">
            <a:extLst>
              <a:ext uri="{FF2B5EF4-FFF2-40B4-BE49-F238E27FC236}">
                <a16:creationId xmlns:a16="http://schemas.microsoft.com/office/drawing/2014/main" id="{0B48D1BA-6341-4487-ABA2-4E45E573B71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572500" y="5529263"/>
            <a:ext cx="16827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CA9AE8B-D259-4F7D-B957-F51A3DB00248}" type="datetime'''''''''''''''''''''''''''''''''O''c''''''''''t'">
              <a:rPr lang="en-GB" altLang="en-US" sz="1100" smtClean="0">
                <a:solidFill>
                  <a:schemeClr val="tx1"/>
                </a:solidFill>
              </a:rPr>
              <a:pPr/>
              <a:t>Oct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32" name="Text Placeholder 8">
            <a:extLst>
              <a:ext uri="{FF2B5EF4-FFF2-40B4-BE49-F238E27FC236}">
                <a16:creationId xmlns:a16="http://schemas.microsoft.com/office/drawing/2014/main" id="{FDB7C224-7FC0-48FD-BF46-51ED275F46E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361488" y="5529263"/>
            <a:ext cx="168275" cy="312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082F312-5703-41F4-AC10-4798F2D52E50}" type="datetime'''''''D''''''''''e''''''''''''''''''c'''''''' '''''''''''''">
              <a:rPr lang="en-GB" altLang="en-US" sz="1100" smtClean="0">
                <a:solidFill>
                  <a:schemeClr val="tx1"/>
                </a:solidFill>
              </a:rPr>
              <a:pPr/>
              <a:t>Dec 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33" name="Text Placeholder 8">
            <a:extLst>
              <a:ext uri="{FF2B5EF4-FFF2-40B4-BE49-F238E27FC236}">
                <a16:creationId xmlns:a16="http://schemas.microsoft.com/office/drawing/2014/main" id="{5820813E-FE8B-47CC-A5B8-03E0AB2BEC7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152063" y="5529263"/>
            <a:ext cx="168275" cy="30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ABDFADB-799D-4FA8-9667-A29B3A388C72}" type="datetime'''''''''''''''''''''''''F''e''''''''''''''''''''''b '''">
              <a:rPr lang="en-GB" altLang="en-US" sz="1100" smtClean="0">
                <a:solidFill>
                  <a:schemeClr val="tx1"/>
                </a:solidFill>
              </a:rPr>
              <a:pPr/>
              <a:t>Feb 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08" name="Text Placeholder 53">
            <a:extLst>
              <a:ext uri="{FF2B5EF4-FFF2-40B4-BE49-F238E27FC236}">
                <a16:creationId xmlns:a16="http://schemas.microsoft.com/office/drawing/2014/main" id="{B9EE0926-68D5-42B3-BCBC-DB941FF54A1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80988" y="5529263"/>
            <a:ext cx="168275" cy="236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705A487-9E9D-45B8-9867-F1FD94079263}" type="datetime'''''''''''''J''''''''''''''''''''a''''''''''n'''''''">
              <a:rPr lang="en-US" altLang="en-US" sz="1100" smtClean="0">
                <a:solidFill>
                  <a:schemeClr val="tx1"/>
                </a:solidFill>
              </a:rPr>
              <a:pPr/>
              <a:t>Jan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10" name="Text Placeholder 55">
            <a:extLst>
              <a:ext uri="{FF2B5EF4-FFF2-40B4-BE49-F238E27FC236}">
                <a16:creationId xmlns:a16="http://schemas.microsoft.com/office/drawing/2014/main" id="{A104F81A-442E-488D-A1B2-9367569AE819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69975" y="5529263"/>
            <a:ext cx="168275" cy="261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AE962BA-496C-4F4A-BD76-9C4B34159B10}" type="datetime'''''''M''''a''r'''''''''''''''''''''''''">
              <a:rPr lang="en-US" altLang="en-US" sz="1100" smtClean="0">
                <a:solidFill>
                  <a:schemeClr val="tx1"/>
                </a:solidFill>
              </a:rPr>
              <a:pPr/>
              <a:t>Mar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9" name="Text Placeholder 67">
            <a:extLst>
              <a:ext uri="{FF2B5EF4-FFF2-40B4-BE49-F238E27FC236}">
                <a16:creationId xmlns:a16="http://schemas.microsoft.com/office/drawing/2014/main" id="{00DBC067-3B62-452E-96CF-A28F2218533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808663" y="5529263"/>
            <a:ext cx="168275" cy="261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E264270-246F-48B4-AD11-4BBDB1F13DA3}" type="datetime'''''''''''Ma''''''''''r'''''''''">
              <a:rPr lang="en-US" altLang="en-US" sz="1100" smtClean="0">
                <a:solidFill>
                  <a:schemeClr val="tx1"/>
                </a:solidFill>
              </a:rPr>
              <a:pPr/>
              <a:t>Mar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1" name="Text Placeholder 60">
            <a:extLst>
              <a:ext uri="{FF2B5EF4-FFF2-40B4-BE49-F238E27FC236}">
                <a16:creationId xmlns:a16="http://schemas.microsoft.com/office/drawing/2014/main" id="{27AA203D-6022-403A-A32A-F241B052432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044825" y="5529263"/>
            <a:ext cx="168275" cy="27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233C34F-840E-4DDC-B4AA-10C96230633B}" type="datetime'''''''''A''''''''''''''''''''''''''u''''g'''''''''''''''''''''">
              <a:rPr lang="en-US" altLang="en-US" sz="1100" smtClean="0">
                <a:solidFill>
                  <a:schemeClr val="tx1"/>
                </a:solidFill>
              </a:rPr>
              <a:pPr/>
              <a:t>Aug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0" name="Text Placeholder 59">
            <a:extLst>
              <a:ext uri="{FF2B5EF4-FFF2-40B4-BE49-F238E27FC236}">
                <a16:creationId xmlns:a16="http://schemas.microsoft.com/office/drawing/2014/main" id="{4E0E1E85-E0B4-42E3-8B95-7C005279F96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649538" y="5529263"/>
            <a:ext cx="1682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19F55A2-C922-4CFB-87E1-121634F46381}" type="datetime'''''''''''''''''J''''u''''''''''''''''''''''l'''''''">
              <a:rPr lang="en-US" altLang="en-US" sz="1100" smtClean="0">
                <a:solidFill>
                  <a:schemeClr val="tx1"/>
                </a:solidFill>
              </a:rPr>
              <a:pPr/>
              <a:t>Jul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16" name="Text Placeholder 58">
            <a:extLst>
              <a:ext uri="{FF2B5EF4-FFF2-40B4-BE49-F238E27FC236}">
                <a16:creationId xmlns:a16="http://schemas.microsoft.com/office/drawing/2014/main" id="{22C4C306-CE8F-4D9B-BD25-B5E60FEF3C3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255838" y="5529263"/>
            <a:ext cx="168275" cy="24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704C23F-4B7C-48FE-A793-F87ACE58C440}" type="datetime'''''''''''''''''J''''''''''''''''''''''''un'">
              <a:rPr lang="en-US" altLang="en-US" sz="1100" smtClean="0">
                <a:solidFill>
                  <a:schemeClr val="tx1"/>
                </a:solidFill>
              </a:rPr>
              <a:pPr/>
              <a:t>Jun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15" name="Text Placeholder 66">
            <a:extLst>
              <a:ext uri="{FF2B5EF4-FFF2-40B4-BE49-F238E27FC236}">
                <a16:creationId xmlns:a16="http://schemas.microsoft.com/office/drawing/2014/main" id="{E6DEE331-C381-495D-8C8B-6EA3A1E0EA6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413375" y="5529263"/>
            <a:ext cx="168275" cy="25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4CC1D33-99C2-4AEB-8F7D-FB0E50F7E314}" type="datetime'''''''''F''''''''''''''''''''''''''e''b'''''''''">
              <a:rPr lang="en-US" altLang="en-US" sz="1100" smtClean="0">
                <a:solidFill>
                  <a:schemeClr val="tx1"/>
                </a:solidFill>
              </a:rPr>
              <a:pPr/>
              <a:t>Feb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19" name="Text Placeholder 57">
            <a:extLst>
              <a:ext uri="{FF2B5EF4-FFF2-40B4-BE49-F238E27FC236}">
                <a16:creationId xmlns:a16="http://schemas.microsoft.com/office/drawing/2014/main" id="{0F58D043-9FEF-4CF0-9B60-3DE8CE5E6FF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860550" y="5529263"/>
            <a:ext cx="168275" cy="284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E84DD3C-7A1C-4F90-8BEA-D646B549D49A}" type="datetime'''''''''''''M''''a''''''''''''''''''y'''">
              <a:rPr lang="en-US" altLang="en-US" sz="1100" smtClean="0">
                <a:solidFill>
                  <a:schemeClr val="tx1"/>
                </a:solidFill>
              </a:rPr>
              <a:pPr/>
              <a:t>May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12" name="Text Placeholder 68">
            <a:extLst>
              <a:ext uri="{FF2B5EF4-FFF2-40B4-BE49-F238E27FC236}">
                <a16:creationId xmlns:a16="http://schemas.microsoft.com/office/drawing/2014/main" id="{FECFCCA9-58F1-4C0E-A863-A655C43DD58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203950" y="5529263"/>
            <a:ext cx="168275" cy="24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1FFE023-1FDD-4814-A058-6AE7D0CD082A}" type="datetime'''''A''p''''''''''''''''''''r'''''''''''''''''''''">
              <a:rPr lang="en-US" altLang="en-US" sz="1100" smtClean="0">
                <a:solidFill>
                  <a:schemeClr val="tx1"/>
                </a:solidFill>
              </a:rPr>
              <a:pPr/>
              <a:t>Apr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3" name="Text Placeholder 8">
            <a:extLst>
              <a:ext uri="{FF2B5EF4-FFF2-40B4-BE49-F238E27FC236}">
                <a16:creationId xmlns:a16="http://schemas.microsoft.com/office/drawing/2014/main" id="{DCDACFAB-9B95-4F24-8383-5DAB4DCD0E52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941050" y="5529263"/>
            <a:ext cx="168275" cy="24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6DFF4D9-599A-40FF-B125-9C92142212E9}" type="datetime'''''''''''''''''''''''''''''''''''''A''pr'">
              <a:rPr lang="en-GB" altLang="en-US" sz="1100" smtClean="0">
                <a:solidFill>
                  <a:schemeClr val="tx1"/>
                </a:solidFill>
              </a:rPr>
              <a:pPr/>
              <a:t>Apr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17" name="Text Placeholder 88">
            <a:extLst>
              <a:ext uri="{FF2B5EF4-FFF2-40B4-BE49-F238E27FC236}">
                <a16:creationId xmlns:a16="http://schemas.microsoft.com/office/drawing/2014/main" id="{194160DD-0899-481E-98FD-6A19B2D0F33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65125" y="1106488"/>
            <a:ext cx="4079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b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400" b="1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ED</a:t>
            </a:r>
            <a:endParaRPr lang="en-GB" sz="1400" b="1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1" name="Text Placeholder 64">
            <a:extLst>
              <a:ext uri="{FF2B5EF4-FFF2-40B4-BE49-F238E27FC236}">
                <a16:creationId xmlns:a16="http://schemas.microsoft.com/office/drawing/2014/main" id="{D96FB507-CAB8-4209-8BF3-53DDA80B8D65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624388" y="5529263"/>
            <a:ext cx="168275" cy="263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682D873-92DA-4BAF-A77B-B60AD1575A0D}" type="datetime'''''''''''''''''''''''Dec'''''''''''''''''''''''''''''''''''''">
              <a:rPr lang="en-US" altLang="en-US" sz="1100" smtClean="0">
                <a:solidFill>
                  <a:schemeClr val="tx1"/>
                </a:solidFill>
              </a:rPr>
              <a:pPr/>
              <a:t>Dec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5" name="Text Placeholder 62">
            <a:extLst>
              <a:ext uri="{FF2B5EF4-FFF2-40B4-BE49-F238E27FC236}">
                <a16:creationId xmlns:a16="http://schemas.microsoft.com/office/drawing/2014/main" id="{3C73BB7E-F9AA-4FF6-9C8C-51C9661B3EF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833813" y="5529263"/>
            <a:ext cx="16827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85E25A0-F413-4F03-85AA-E45573332188}" type="datetime'''''''''''''''''''''''''''''O''''''''''c''''t'''''''">
              <a:rPr lang="en-US" altLang="en-US" sz="1100" smtClean="0">
                <a:solidFill>
                  <a:schemeClr val="tx1"/>
                </a:solidFill>
              </a:rPr>
              <a:pPr/>
              <a:t>Oct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36" name="Text Placeholder 56">
            <a:extLst>
              <a:ext uri="{FF2B5EF4-FFF2-40B4-BE49-F238E27FC236}">
                <a16:creationId xmlns:a16="http://schemas.microsoft.com/office/drawing/2014/main" id="{E0B8650C-D74D-47FD-8C5A-6B42BCF9ACE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465263" y="5529263"/>
            <a:ext cx="168275" cy="242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42339BF-9B68-4D5B-83E7-F1CFCAB1193A}" type="datetime'A''''''''''''''''''''''p''r'''''''''">
              <a:rPr lang="en-US" altLang="en-US" sz="1100" smtClean="0">
                <a:solidFill>
                  <a:schemeClr val="tx1"/>
                </a:solidFill>
              </a:rPr>
              <a:pPr/>
              <a:t>Apr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2" name="Text Placeholder 61">
            <a:extLst>
              <a:ext uri="{FF2B5EF4-FFF2-40B4-BE49-F238E27FC236}">
                <a16:creationId xmlns:a16="http://schemas.microsoft.com/office/drawing/2014/main" id="{0BDD8F63-4AD2-4AB1-8EFA-52CE11DE864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440113" y="5529263"/>
            <a:ext cx="1682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477EA68-5014-4934-8B94-CF6BEE1AF860}" type="datetime'''''''''''''''S''''''e''''''''''''''''''''''''''''''''p'''">
              <a:rPr lang="en-US" altLang="en-US" sz="1100" smtClean="0">
                <a:solidFill>
                  <a:schemeClr val="tx1"/>
                </a:solidFill>
              </a:rPr>
              <a:pPr/>
              <a:t>Sep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14" name="Text Placeholder 63">
            <a:extLst>
              <a:ext uri="{FF2B5EF4-FFF2-40B4-BE49-F238E27FC236}">
                <a16:creationId xmlns:a16="http://schemas.microsoft.com/office/drawing/2014/main" id="{C0D5D5AA-C55A-4371-AA66-58AAF1AABB3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229100" y="5529263"/>
            <a:ext cx="168275" cy="27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EDD95E4-64D5-4196-BD90-49DC36705F18}" type="datetime'''''''''''''''''''''''''''''''''N''''''''''o''''''''''''v'''">
              <a:rPr lang="en-US" altLang="en-US" sz="1100" smtClean="0">
                <a:solidFill>
                  <a:schemeClr val="tx1"/>
                </a:solidFill>
              </a:rPr>
              <a:pPr/>
              <a:t>Nov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6" name="Text Placeholder 8">
            <a:extLst>
              <a:ext uri="{FF2B5EF4-FFF2-40B4-BE49-F238E27FC236}">
                <a16:creationId xmlns:a16="http://schemas.microsoft.com/office/drawing/2014/main" id="{3BE8DD9D-C7FC-4FFA-9C55-36007D504822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1336338" y="5529263"/>
            <a:ext cx="168275" cy="284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F0A27C7-9504-44B3-B818-C423D405268F}" type="datetime'''''''''''''M''''''''''''''''''''''a''y'''">
              <a:rPr lang="en-GB" altLang="en-US" sz="1100" smtClean="0">
                <a:solidFill>
                  <a:schemeClr val="tx1"/>
                </a:solidFill>
              </a:rPr>
              <a:pPr/>
              <a:t>May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8" name="Text Placeholder 65">
            <a:extLst>
              <a:ext uri="{FF2B5EF4-FFF2-40B4-BE49-F238E27FC236}">
                <a16:creationId xmlns:a16="http://schemas.microsoft.com/office/drawing/2014/main" id="{466518C3-B596-4FEF-B2D7-FD3B346A93D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019675" y="5529263"/>
            <a:ext cx="168275" cy="236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072F526-DFD0-4A35-BEBA-E4E3C7E42DE1}" type="datetime'''''''''''J''a''''''''''''''''''''''''''n'''''''''''''''''">
              <a:rPr lang="en-US" altLang="en-US" sz="1100" smtClean="0">
                <a:solidFill>
                  <a:schemeClr val="tx1"/>
                </a:solidFill>
              </a:rPr>
              <a:pPr/>
              <a:t>Jan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13" name="Text Placeholder 54">
            <a:extLst>
              <a:ext uri="{FF2B5EF4-FFF2-40B4-BE49-F238E27FC236}">
                <a16:creationId xmlns:a16="http://schemas.microsoft.com/office/drawing/2014/main" id="{1DE6CD42-4735-406E-8BDC-B74A2D1E9CF8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76275" y="5529263"/>
            <a:ext cx="168275" cy="25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EAEB024-620B-4290-B32B-034148A0F5E0}" type="datetime'''''''''''''''''''''''F''''''''''''e''b'''''''''''''">
              <a:rPr lang="en-US" altLang="en-US" sz="1100" smtClean="0">
                <a:solidFill>
                  <a:schemeClr val="tx1"/>
                </a:solidFill>
              </a:rPr>
              <a:pPr/>
              <a:t>Feb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51D98BD5-395F-405A-B9D4-EA244C653514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992938" y="5529263"/>
            <a:ext cx="168275" cy="24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799BDEC-6820-42A9-A5E0-388C3355E63C}" type="datetime'''''''''''''''''J''''u''''''''''''''''n'''''''''''">
              <a:rPr lang="en-US" altLang="en-US" sz="1100" smtClean="0">
                <a:solidFill>
                  <a:schemeClr val="tx1"/>
                </a:solidFill>
              </a:rPr>
              <a:pPr/>
              <a:t>Jun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7" name="Text Placeholder 6">
            <a:extLst>
              <a:ext uri="{FF2B5EF4-FFF2-40B4-BE49-F238E27FC236}">
                <a16:creationId xmlns:a16="http://schemas.microsoft.com/office/drawing/2014/main" id="{8B29C152-E1D9-40AC-847D-D524ABAD1A27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388225" y="5529263"/>
            <a:ext cx="1682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B6F89CE-C27A-4DEB-9682-03B923E01BDB}" type="datetime'''''J''''''''''u''''''''''''''''''''''''''l'''''">
              <a:rPr lang="en-US" altLang="en-US" sz="1100" smtClean="0">
                <a:solidFill>
                  <a:schemeClr val="tx1"/>
                </a:solidFill>
              </a:rPr>
              <a:pPr/>
              <a:t>Jul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30" name="Text Placeholder 8">
            <a:extLst>
              <a:ext uri="{FF2B5EF4-FFF2-40B4-BE49-F238E27FC236}">
                <a16:creationId xmlns:a16="http://schemas.microsoft.com/office/drawing/2014/main" id="{22F89082-805B-4825-A28B-2FA5C1737EDA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177213" y="5529263"/>
            <a:ext cx="168275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051319D-9129-4A84-A49D-50781F85024B}" type="datetime'''''''''''''''S''''''e''''p'''''">
              <a:rPr lang="en-US" altLang="en-US" sz="1100" smtClean="0">
                <a:solidFill>
                  <a:schemeClr val="tx1"/>
                </a:solidFill>
              </a:rPr>
              <a:pPr/>
              <a:t>Sep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35" name="Text Placeholder 8">
            <a:extLst>
              <a:ext uri="{FF2B5EF4-FFF2-40B4-BE49-F238E27FC236}">
                <a16:creationId xmlns:a16="http://schemas.microsoft.com/office/drawing/2014/main" id="{345E4746-3D8B-43AB-A15A-DD236D548019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967788" y="5529263"/>
            <a:ext cx="168275" cy="27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8BBC422-2FD3-46AD-9E43-211AE3E89E32}" type="datetime'''N''''''''''''''''''''''''''''''o''''''''''''''''v'''">
              <a:rPr lang="en-GB" altLang="en-US" sz="1100" smtClean="0">
                <a:solidFill>
                  <a:schemeClr val="tx1"/>
                </a:solidFill>
              </a:rPr>
              <a:pPr/>
              <a:t>Nov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37" name="Text Placeholder 8">
            <a:extLst>
              <a:ext uri="{FF2B5EF4-FFF2-40B4-BE49-F238E27FC236}">
                <a16:creationId xmlns:a16="http://schemas.microsoft.com/office/drawing/2014/main" id="{D789C067-C366-45C8-A90F-1BF9D3245E4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756775" y="5529263"/>
            <a:ext cx="168275" cy="236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466C93E-4D47-47E3-B056-C20FAE68EEDF}" type="datetime'''''''''''''J''''''''''''''''''a''''''''n'''''''''''''''">
              <a:rPr lang="en-GB" altLang="en-US" sz="1100" smtClean="0">
                <a:solidFill>
                  <a:schemeClr val="tx1"/>
                </a:solidFill>
              </a:rPr>
              <a:pPr/>
              <a:t>Jan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34" name="Text Placeholder 8">
            <a:extLst>
              <a:ext uri="{FF2B5EF4-FFF2-40B4-BE49-F238E27FC236}">
                <a16:creationId xmlns:a16="http://schemas.microsoft.com/office/drawing/2014/main" id="{0B8A486D-1666-453E-8454-01ED40B3D83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547350" y="5529263"/>
            <a:ext cx="168275" cy="261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B00A202-67A5-4BC0-A26F-2548312FD570}" type="datetime'''Ma''''r'''''''''''''''''''''''''">
              <a:rPr lang="en-GB" altLang="en-US" sz="1100" smtClean="0">
                <a:solidFill>
                  <a:schemeClr val="tx1"/>
                </a:solidFill>
              </a:rPr>
              <a:pPr/>
              <a:t>Mar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sp>
        <p:nvSpPr>
          <p:cNvPr id="124" name="Text Placeholder 69">
            <a:extLst>
              <a:ext uri="{FF2B5EF4-FFF2-40B4-BE49-F238E27FC236}">
                <a16:creationId xmlns:a16="http://schemas.microsoft.com/office/drawing/2014/main" id="{0EEB0DD5-ADAB-4864-A47B-5ACB7B9577C2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597650" y="5529263"/>
            <a:ext cx="168275" cy="284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6C6F70"/>
                </a:solidFill>
                <a:latin typeface="Verdana" pitchFamily="34" charset="0"/>
                <a:ea typeface="Verdana" pitchFamily="34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A293E66-89A9-4D38-873E-66289BCFCE9D}" type="datetime'''''''M''''''''''''''''''''''''''''''ay'''''''''''''''''''''''">
              <a:rPr lang="en-US" altLang="en-US" sz="1100" smtClean="0">
                <a:solidFill>
                  <a:schemeClr val="tx1"/>
                </a:solidFill>
              </a:rPr>
              <a:pPr/>
              <a:t>May</a:t>
            </a:fld>
            <a:endParaRPr lang="en-GB" sz="1100" dirty="0">
              <a:solidFill>
                <a:schemeClr val="tx1"/>
              </a:solidFill>
              <a:latin typeface="Verdana"/>
              <a:ea typeface="Verdana"/>
              <a:sym typeface="+mn-lt"/>
            </a:endParaRPr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AAFB3667-4A9F-47DA-856C-BDBEDB9DC54E}"/>
              </a:ext>
            </a:extLst>
          </p:cNvPr>
          <p:cNvCxnSpPr>
            <a:cxnSpLocks/>
          </p:cNvCxnSpPr>
          <p:nvPr/>
        </p:nvCxnSpPr>
        <p:spPr>
          <a:xfrm flipV="1">
            <a:off x="5497512" y="1514475"/>
            <a:ext cx="1" cy="3968752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798A06CE-CF84-4BE6-A2D3-2ED984F29753}"/>
              </a:ext>
            </a:extLst>
          </p:cNvPr>
          <p:cNvCxnSpPr>
            <a:cxnSpLocks/>
          </p:cNvCxnSpPr>
          <p:nvPr/>
        </p:nvCxnSpPr>
        <p:spPr>
          <a:xfrm flipV="1">
            <a:off x="7867650" y="2856753"/>
            <a:ext cx="0" cy="2564561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34C4F9F3-ED2A-49F7-B279-87BD1B81613F}"/>
              </a:ext>
            </a:extLst>
          </p:cNvPr>
          <p:cNvCxnSpPr>
            <a:cxnSpLocks/>
          </p:cNvCxnSpPr>
          <p:nvPr/>
        </p:nvCxnSpPr>
        <p:spPr>
          <a:xfrm flipV="1">
            <a:off x="8633305" y="3119718"/>
            <a:ext cx="23332" cy="2363507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0337C7E3-827E-44C5-9788-AAABE6A75359}"/>
              </a:ext>
            </a:extLst>
          </p:cNvPr>
          <p:cNvCxnSpPr>
            <a:cxnSpLocks/>
          </p:cNvCxnSpPr>
          <p:nvPr/>
        </p:nvCxnSpPr>
        <p:spPr>
          <a:xfrm flipV="1">
            <a:off x="10179530" y="3484282"/>
            <a:ext cx="33011" cy="1998943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FA33E425-0CDF-4154-BFCB-6F69C23BD647}"/>
              </a:ext>
            </a:extLst>
          </p:cNvPr>
          <p:cNvSpPr txBox="1"/>
          <p:nvPr/>
        </p:nvSpPr>
        <p:spPr>
          <a:xfrm rot="16200000">
            <a:off x="4759325" y="4529138"/>
            <a:ext cx="1215397" cy="2460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Intervention #</a:t>
            </a:r>
            <a:r>
              <a:rPr lang="en-US" sz="1000" b="1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1</a:t>
            </a:r>
            <a:endParaRPr lang="en-GB" sz="1000" b="1" dirty="0">
              <a:solidFill>
                <a:srgbClr val="7F7F7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655756FE-9E35-40E3-897B-9635C61640C4}"/>
              </a:ext>
            </a:extLst>
          </p:cNvPr>
          <p:cNvSpPr txBox="1"/>
          <p:nvPr/>
        </p:nvSpPr>
        <p:spPr>
          <a:xfrm rot="16200000">
            <a:off x="7070725" y="4560888"/>
            <a:ext cx="1215397" cy="2460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Intervention #</a:t>
            </a:r>
            <a:r>
              <a:rPr lang="en-US" sz="1000" b="1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2</a:t>
            </a:r>
            <a:endParaRPr lang="en-GB" sz="1000" b="1" dirty="0">
              <a:solidFill>
                <a:srgbClr val="7F7F7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CB26C761-49C6-4416-A225-1F064C0AA956}"/>
              </a:ext>
            </a:extLst>
          </p:cNvPr>
          <p:cNvSpPr txBox="1"/>
          <p:nvPr/>
        </p:nvSpPr>
        <p:spPr>
          <a:xfrm rot="16200000">
            <a:off x="7902575" y="4551363"/>
            <a:ext cx="1215397" cy="2460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Intervention #</a:t>
            </a:r>
            <a:r>
              <a:rPr lang="en-US" sz="1000" b="1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3</a:t>
            </a:r>
            <a:endParaRPr lang="en-GB" sz="1000" b="1" dirty="0">
              <a:solidFill>
                <a:srgbClr val="7F7F7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C029A88-EC21-4E51-9514-CCBA3DD2449F}"/>
              </a:ext>
            </a:extLst>
          </p:cNvPr>
          <p:cNvSpPr txBox="1"/>
          <p:nvPr/>
        </p:nvSpPr>
        <p:spPr>
          <a:xfrm rot="16200000">
            <a:off x="9448800" y="4529138"/>
            <a:ext cx="1215397" cy="2460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Intervention #</a:t>
            </a:r>
            <a:r>
              <a:rPr lang="en-US" sz="1000" b="1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4</a:t>
            </a:r>
            <a:endParaRPr lang="en-GB" sz="1000" b="1" dirty="0">
              <a:solidFill>
                <a:srgbClr val="7F7F7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AA60DEE8-4A4C-4ABB-9ECE-501982CE4606}"/>
              </a:ext>
            </a:extLst>
          </p:cNvPr>
          <p:cNvSpPr txBox="1"/>
          <p:nvPr/>
        </p:nvSpPr>
        <p:spPr>
          <a:xfrm>
            <a:off x="364565" y="6059488"/>
            <a:ext cx="4738686" cy="30797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2015</a:t>
            </a:r>
            <a:endParaRPr lang="en-GB" sz="1400" b="1" dirty="0">
              <a:solidFill>
                <a:srgbClr val="7F7F7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088596F-600C-43FD-8C26-AF21C675B60C}"/>
              </a:ext>
            </a:extLst>
          </p:cNvPr>
          <p:cNvSpPr txBox="1"/>
          <p:nvPr/>
        </p:nvSpPr>
        <p:spPr>
          <a:xfrm>
            <a:off x="5103906" y="6059488"/>
            <a:ext cx="4738686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2016</a:t>
            </a:r>
            <a:endParaRPr lang="en-GB" sz="1400" b="1" dirty="0">
              <a:solidFill>
                <a:srgbClr val="7F7F7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A70AD83-CC57-4286-B3FF-B9DE8624AC2E}"/>
              </a:ext>
            </a:extLst>
          </p:cNvPr>
          <p:cNvSpPr txBox="1"/>
          <p:nvPr/>
        </p:nvSpPr>
        <p:spPr>
          <a:xfrm>
            <a:off x="9843247" y="6059488"/>
            <a:ext cx="1619623" cy="3079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F7F7F">
                    <a:lumMod val="50000"/>
                  </a:srgbClr>
                </a:solidFill>
                <a:latin typeface="Verdana"/>
              </a:rPr>
              <a:t>2017</a:t>
            </a:r>
            <a:endParaRPr lang="en-GB" sz="1400" b="1" dirty="0">
              <a:solidFill>
                <a:srgbClr val="7F7F7F">
                  <a:lumMod val="50000"/>
                </a:srgbClr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44111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03BBCE-5365-4E2B-8279-F115BC648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9874" y="559708"/>
            <a:ext cx="10424160" cy="642558"/>
          </a:xfrm>
        </p:spPr>
        <p:txBody>
          <a:bodyPr/>
          <a:lstStyle/>
          <a:p>
            <a:r>
              <a:rPr lang="en-US" dirty="0"/>
              <a:t>All stakeholders across the healthcare industry have a responsibility to ensure sustainability of the industry and need to work collaboratively to fight and prevent waste, fraud, and abus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BB3784-2ED5-4D8A-BEA2-67987DD88C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aste and Overuse </a:t>
            </a:r>
            <a:r>
              <a:rPr lang="en-US" dirty="0">
                <a:solidFill>
                  <a:schemeClr val="bg2"/>
                </a:solidFill>
              </a:rPr>
              <a:t>| Our Responsibility</a:t>
            </a:r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35A950-2D6A-4229-B9A6-1F5959500D0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8C1C4E-EF83-4A8E-8832-6F13C6F589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3769" y="3015365"/>
            <a:ext cx="10218607" cy="570673"/>
          </a:xfrm>
        </p:spPr>
        <p:txBody>
          <a:bodyPr/>
          <a:lstStyle/>
          <a:p>
            <a:r>
              <a:rPr lang="en-GB" dirty="0"/>
              <a:t>Focused Behavioural Interventions based on clinicians and members behaviour is more effective and efficient in comparison to a claim to claim review which has proven to be less effectiv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8651AA2-8B1B-4FBE-9547-02E87526D1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858" y="2850702"/>
            <a:ext cx="900000" cy="90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46A7F31-A982-4F36-BC8E-E13460C817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3584" y="4052967"/>
            <a:ext cx="4215393" cy="194462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80C2A5F-FCD2-4A09-9AF7-93AAA02772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3584" y="1078513"/>
            <a:ext cx="2469908" cy="1709936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CDA8E63D-F3D1-41A2-B0F4-2931C9E075B0}"/>
              </a:ext>
            </a:extLst>
          </p:cNvPr>
          <p:cNvGrpSpPr/>
          <p:nvPr/>
        </p:nvGrpSpPr>
        <p:grpSpPr>
          <a:xfrm>
            <a:off x="8780794" y="4665281"/>
            <a:ext cx="3193570" cy="720000"/>
            <a:chOff x="8844765" y="1388815"/>
            <a:chExt cx="3193570" cy="7200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F6ED1C8-63FB-4F6B-BA4D-277EB6F7BF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44765" y="1388815"/>
              <a:ext cx="720000" cy="7200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3241617-666B-4251-BF79-81C2BF1C09A1}"/>
                </a:ext>
              </a:extLst>
            </p:cNvPr>
            <p:cNvSpPr/>
            <p:nvPr/>
          </p:nvSpPr>
          <p:spPr>
            <a:xfrm>
              <a:off x="9564765" y="1564149"/>
              <a:ext cx="24735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ea typeface="ＭＳ Ｐゴシック" charset="0"/>
                  <a:cs typeface="ＭＳ Ｐゴシック" charset="0"/>
                </a:rPr>
                <a:t>Trend Analysi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C278DCA-649D-4769-BFD7-D8556FE0F075}"/>
              </a:ext>
            </a:extLst>
          </p:cNvPr>
          <p:cNvGrpSpPr/>
          <p:nvPr/>
        </p:nvGrpSpPr>
        <p:grpSpPr>
          <a:xfrm>
            <a:off x="6160663" y="4665281"/>
            <a:ext cx="2370912" cy="720000"/>
            <a:chOff x="5907456" y="1359985"/>
            <a:chExt cx="2370912" cy="7200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C9FC5ED-B9F5-4FFC-97D9-761EE1E620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7456" y="1359985"/>
              <a:ext cx="720000" cy="720000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096D8A2-73B4-4766-A473-B5CBB9830297}"/>
                </a:ext>
              </a:extLst>
            </p:cNvPr>
            <p:cNvSpPr/>
            <p:nvPr/>
          </p:nvSpPr>
          <p:spPr>
            <a:xfrm>
              <a:off x="6645360" y="1396820"/>
              <a:ext cx="163300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ea typeface="ＭＳ Ｐゴシック" charset="0"/>
                  <a:cs typeface="ＭＳ Ｐゴシック" charset="0"/>
                </a:rPr>
                <a:t>Artificial Intelligence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F4FF4DA-E0E3-406D-BBFF-76310F42F7EF}"/>
              </a:ext>
            </a:extLst>
          </p:cNvPr>
          <p:cNvGrpSpPr/>
          <p:nvPr/>
        </p:nvGrpSpPr>
        <p:grpSpPr>
          <a:xfrm>
            <a:off x="2910593" y="4665281"/>
            <a:ext cx="3185407" cy="720000"/>
            <a:chOff x="3363699" y="2032797"/>
            <a:chExt cx="3185407" cy="72000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5E6D48C-84B2-4AE7-8B72-F98F394A546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3699" y="2032797"/>
              <a:ext cx="720000" cy="720000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103A68E-DA18-4E4E-8613-E8F02CCA6E74}"/>
                </a:ext>
              </a:extLst>
            </p:cNvPr>
            <p:cNvSpPr/>
            <p:nvPr/>
          </p:nvSpPr>
          <p:spPr>
            <a:xfrm>
              <a:off x="4075536" y="2208131"/>
              <a:ext cx="247357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ea typeface="ＭＳ Ｐゴシック" charset="0"/>
                  <a:cs typeface="ＭＳ Ｐゴシック" charset="0"/>
                </a:rPr>
                <a:t>Predictive Modeling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30349F4-2F33-4427-89D4-4660D6A515D2}"/>
              </a:ext>
            </a:extLst>
          </p:cNvPr>
          <p:cNvGrpSpPr/>
          <p:nvPr/>
        </p:nvGrpSpPr>
        <p:grpSpPr>
          <a:xfrm>
            <a:off x="505332" y="4667922"/>
            <a:ext cx="2021107" cy="720000"/>
            <a:chOff x="1124429" y="1444189"/>
            <a:chExt cx="2021107" cy="7200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8F51B1D-C796-4E5C-A1A1-12B1FCB6DCA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4429" y="1444189"/>
              <a:ext cx="720000" cy="7200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73BDCAC-39F4-43E5-89FB-28BED7EAC3C3}"/>
                </a:ext>
              </a:extLst>
            </p:cNvPr>
            <p:cNvSpPr/>
            <p:nvPr/>
          </p:nvSpPr>
          <p:spPr>
            <a:xfrm>
              <a:off x="1920812" y="1619523"/>
              <a:ext cx="122472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ea typeface="ＭＳ Ｐゴシック" charset="0"/>
                  <a:cs typeface="ＭＳ Ｐゴシック" charset="0"/>
                </a:rPr>
                <a:t>Big 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65587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614E1A-6017-4654-B5A1-0CD8B22BB0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Document type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4A263B-0111-434B-A310-A0989371200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A914F42-6BC7-4CC7-AB42-83D2CDBB63E7}" type="datetime1">
              <a:rPr lang="en-US" noProof="0" smtClean="0"/>
              <a:t>2/18/2020</a:t>
            </a:fld>
            <a:endParaRPr lang="en-GB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ECBB7F-F8D4-470C-9C71-42DC64F370D4}"/>
              </a:ext>
            </a:extLst>
          </p:cNvPr>
          <p:cNvSpPr>
            <a:spLocks/>
          </p:cNvSpPr>
          <p:nvPr/>
        </p:nvSpPr>
        <p:spPr bwMode="auto">
          <a:xfrm>
            <a:off x="1215482" y="3149570"/>
            <a:ext cx="4379288" cy="878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anchor="ctr" anchorCtr="0">
            <a:spAutoFit/>
          </a:bodyPr>
          <a:lstStyle/>
          <a:p>
            <a:pPr algn="ctr" defTabSz="1858061">
              <a:lnSpc>
                <a:spcPct val="150000"/>
              </a:lnSpc>
            </a:pPr>
            <a:r>
              <a:rPr lang="en-GB" sz="4400" b="1" spc="203" dirty="0">
                <a:solidFill>
                  <a:srgbClr val="003478"/>
                </a:solidFill>
                <a:latin typeface="+mj-lt"/>
                <a:ea typeface="Montserrat Semi Bold" charset="0"/>
                <a:cs typeface="Montserrat Semi Bold" charset="0"/>
                <a:sym typeface="Bebas Neue" charset="0"/>
              </a:rPr>
              <a:t>Thank you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EC5AA9-EE33-4FA6-A46B-D7F1607AD9DF}"/>
              </a:ext>
            </a:extLst>
          </p:cNvPr>
          <p:cNvSpPr>
            <a:spLocks/>
          </p:cNvSpPr>
          <p:nvPr/>
        </p:nvSpPr>
        <p:spPr bwMode="auto">
          <a:xfrm>
            <a:off x="1215482" y="2070054"/>
            <a:ext cx="4379288" cy="1089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anchor="ctr" anchorCtr="0">
            <a:spAutoFit/>
          </a:bodyPr>
          <a:lstStyle/>
          <a:p>
            <a:pPr algn="ctr" defTabSz="1858061" rtl="1">
              <a:lnSpc>
                <a:spcPct val="150000"/>
              </a:lnSpc>
            </a:pPr>
            <a:r>
              <a:rPr lang="ar-JO" sz="5400" b="1" spc="203" dirty="0">
                <a:solidFill>
                  <a:srgbClr val="003478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  <a:sym typeface="Bebas Neue" charset="0"/>
              </a:rPr>
              <a:t>شـكـراً جـزيـلاً</a:t>
            </a:r>
          </a:p>
        </p:txBody>
      </p:sp>
    </p:spTree>
    <p:extLst>
      <p:ext uri="{BB962C8B-B14F-4D97-AF65-F5344CB8AC3E}">
        <p14:creationId xmlns:p14="http://schemas.microsoft.com/office/powerpoint/2010/main" val="2201109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AMO_REPORTCONTROLSVISIBLE" val="Empty"/>
  <p:tag name="THINKCELLUNDODONOTDELETE" val="0"/>
  <p:tag name="_AMO_UNIQUEIDENTIFIER" val="251e5f8d-e1db-46fb-856c-387f5069f4fb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Ku.d.u6EdNWvyWp_Rv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hgE_.nGQJS2eH9qTmV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wGcfh.lRMlz_kLMlTS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IWmAZl7Ec0hP0yeGwY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.mXBUkU4kTmTJqyB2C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zexsaJEybGSa5Ahnnw1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RE19IeoLoZG18wnVsY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0NDc.lmuQostPITvc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jSqDE_IZaN2ToWXr4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OETzdqAaD1oz7hngdD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FXfYwUj16UtiO30JO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CmkKMhJsQAn8PBX_UF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9XgL_BXM43piF_9ZYF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Q.7j4TWeCQkRrJjMIW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bgSkL_478MQzgaKKdh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hRj5nZEqsKE8raCtX3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AAdFkvu91AdroJugb6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QtEXrcQxd2JrmQo.zI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FUKfMeiPrRBIKM2Tzg_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_hil9BXzcCKG_5karp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y58ibuc8Le8XG.svik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9zp89JbYTSkvR.3JuJ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4H8e58u.NhdFEYgQO6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tRyBIJ0ji1WTgdcBVH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ne7uGeOvCUTWtM9G9S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6CW3B05h6hXw_fqXpT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kKkCKIeuwQ6XxW86pI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wiMvtZzvm_gf5QsHsc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yNCOUrc15o.k8oR5lJ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qez0CiRqwXCsHv_Zj.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ubTwp.jU68t2jRQzQb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.vfPu0zizEoWo3YVHZ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FzyXnijNLkcJwuLKhZ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3DvousXJQxnOwZUcEf0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a9Q92OH3Egx6oKaBWj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uRX.xcdwS.68M.v9.s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FP1BXe2nR2dngA3xoQ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BGPnTJ4qMxZBMp_Mj8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1W_BeDQo85k22nYmzil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kTt5To2d2L6Eisi7su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WQ0Hf4LIN0BKB4g0JZ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bTP8Wxe8XtSMZZGGZX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cCeWJmlzE_1xwDh1ET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tVvXGtf1lJoJsqj6Ju_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XM49wgt.qk0ix0qzh5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aPxjCn2e04tA008X.4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rTE5iQGAYL1LgIxeou7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bq.hcdjkOa7x_A1R7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DdipFydqDVkmLstU_It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uUHa8yh_wc6GkLhSLe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e4e34mumQavsZ5deji5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isyCFv9Id48Hy5H_js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41QTs2iZo9uC6U5HGGX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70yBE3syS8gfEasqpc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dmNAjRndbE9XRvyq_o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Yet5H9vDCCxcP.phAp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v9LgKNGJbVXO4P_ITu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NN1kYfCMhhwfX9bMJI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rivKDti.DJsfDyh4mx.w"/>
</p:tagLst>
</file>

<file path=ppt/theme/theme1.xml><?xml version="1.0" encoding="utf-8"?>
<a:theme xmlns:a="http://schemas.openxmlformats.org/drawingml/2006/main" name="Presentation Theme 2018_v0.449">
  <a:themeElements>
    <a:clrScheme name="Daman colour palette">
      <a:dk1>
        <a:srgbClr val="58595B"/>
      </a:dk1>
      <a:lt1>
        <a:srgbClr val="FFFFFF"/>
      </a:lt1>
      <a:dk2>
        <a:srgbClr val="003478"/>
      </a:dk2>
      <a:lt2>
        <a:srgbClr val="882345"/>
      </a:lt2>
      <a:accent1>
        <a:srgbClr val="85CDDB"/>
      </a:accent1>
      <a:accent2>
        <a:srgbClr val="00A599"/>
      </a:accent2>
      <a:accent3>
        <a:srgbClr val="85754E"/>
      </a:accent3>
      <a:accent4>
        <a:srgbClr val="CA7700"/>
      </a:accent4>
      <a:accent5>
        <a:srgbClr val="6A7F10"/>
      </a:accent5>
      <a:accent6>
        <a:srgbClr val="FF0000"/>
      </a:accent6>
      <a:hlink>
        <a:srgbClr val="58595B"/>
      </a:hlink>
      <a:folHlink>
        <a:srgbClr val="58595B"/>
      </a:folHlink>
    </a:clrScheme>
    <a:fontScheme name="Daman Custom">
      <a:majorFont>
        <a:latin typeface="Verdana"/>
        <a:ea typeface=""/>
        <a:cs typeface="Microsoft Sans Serif"/>
      </a:majorFont>
      <a:minorFont>
        <a:latin typeface="Verdana"/>
        <a:ea typeface=""/>
        <a:cs typeface="Microsoft Sans Serif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Theme 2018_v0.449" id="{40F9725B-A690-4BD3-A9FF-80FB1E53B7A5}" vid="{5DEE4BCE-1E97-434E-88D1-01B3197244A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Theme 2018_v0.449</Template>
  <TotalTime>0</TotalTime>
  <Words>504</Words>
  <Application>Microsoft Office PowerPoint</Application>
  <PresentationFormat>Widescreen</PresentationFormat>
  <Paragraphs>123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Microsoft Sans Serif</vt:lpstr>
      <vt:lpstr>Verdana</vt:lpstr>
      <vt:lpstr>Presentation Theme 2018_v0.44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s Abukrayem</dc:creator>
  <cp:lastModifiedBy>Ali Anees</cp:lastModifiedBy>
  <cp:revision>499</cp:revision>
  <cp:lastPrinted>2020-02-17T16:09:04Z</cp:lastPrinted>
  <dcterms:created xsi:type="dcterms:W3CDTF">2018-12-18T08:25:20Z</dcterms:created>
  <dcterms:modified xsi:type="dcterms:W3CDTF">2020-02-18T05:38:35Z</dcterms:modified>
</cp:coreProperties>
</file>